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20"/>
  </p:notesMasterIdLst>
  <p:handoutMasterIdLst>
    <p:handoutMasterId r:id="rId21"/>
  </p:handoutMasterIdLst>
  <p:sldIdLst>
    <p:sldId id="257" r:id="rId2"/>
    <p:sldId id="272" r:id="rId3"/>
    <p:sldId id="269" r:id="rId4"/>
    <p:sldId id="274" r:id="rId5"/>
    <p:sldId id="279" r:id="rId6"/>
    <p:sldId id="273" r:id="rId7"/>
    <p:sldId id="271" r:id="rId8"/>
    <p:sldId id="280" r:id="rId9"/>
    <p:sldId id="278" r:id="rId10"/>
    <p:sldId id="276" r:id="rId11"/>
    <p:sldId id="281" r:id="rId12"/>
    <p:sldId id="277" r:id="rId13"/>
    <p:sldId id="267" r:id="rId14"/>
    <p:sldId id="262" r:id="rId15"/>
    <p:sldId id="263" r:id="rId16"/>
    <p:sldId id="264" r:id="rId17"/>
    <p:sldId id="265" r:id="rId18"/>
    <p:sldId id="260" r:id="rId19"/>
  </p:sldIdLst>
  <p:sldSz cx="9147175" cy="5145088"/>
  <p:notesSz cx="6797675" cy="9926638"/>
  <p:custDataLst>
    <p:tags r:id="rId2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DBB00"/>
    <a:srgbClr val="8E7D6F"/>
    <a:srgbClr val="E6E6E6"/>
    <a:srgbClr val="EDEDED"/>
    <a:srgbClr val="00B3E1"/>
    <a:srgbClr val="6BD3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633" autoAdjust="0"/>
    <p:restoredTop sz="89798" autoAdjust="0"/>
  </p:normalViewPr>
  <p:slideViewPr>
    <p:cSldViewPr snapToGrid="0">
      <p:cViewPr varScale="1">
        <p:scale>
          <a:sx n="130" d="100"/>
          <a:sy n="130" d="100"/>
        </p:scale>
        <p:origin x="678" y="120"/>
      </p:cViewPr>
      <p:guideLst/>
    </p:cSldViewPr>
  </p:slideViewPr>
  <p:outlineViewPr>
    <p:cViewPr>
      <p:scale>
        <a:sx n="33" d="100"/>
        <a:sy n="33" d="100"/>
      </p:scale>
      <p:origin x="0" y="-228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112" d="100"/>
          <a:sy n="112" d="100"/>
        </p:scale>
        <p:origin x="3234" y="12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8056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59" cy="498056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FD8B9E88-11D9-4CF2-9006-FB7E61EB12D3}" type="datetimeFigureOut">
              <a:rPr lang="de-CH" smtClean="0"/>
              <a:t>07.01.2021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2654C08F-5C88-4081-B486-8E61B3DA56B3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16808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8056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8056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26FCBF76-4842-428B-B9BC-895BFCC1E707}" type="datetimeFigureOut">
              <a:rPr lang="de-CH" smtClean="0"/>
              <a:t>07.01.2021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32" tIns="45716" rIns="91432" bIns="45716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08563647-1664-4460-855C-29C43A086786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455007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5071354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3:3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3158193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4:0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74102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a-E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1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6391582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a-E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3647433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1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522229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405314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00: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160326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00:4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427969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1:1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088413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1:3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431374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1:5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1915173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2: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407460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2:5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093561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175" cy="5145088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691979" y="1221963"/>
            <a:ext cx="3682265" cy="338320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7" name="Rechteck 6"/>
          <p:cNvSpPr/>
          <p:nvPr userDrawn="1"/>
        </p:nvSpPr>
        <p:spPr>
          <a:xfrm>
            <a:off x="-1" y="4337050"/>
            <a:ext cx="9147175" cy="808037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4661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ressionen 3 Bil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5"/>
          </p:nvPr>
        </p:nvSpPr>
        <p:spPr>
          <a:xfrm>
            <a:off x="4326721" y="-5454"/>
            <a:ext cx="4905859" cy="2533480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501314"/>
              <a:gd name="connsiteY0" fmla="*/ 1622139 h 1622139"/>
              <a:gd name="connsiteX1" fmla="*/ 675227 w 4501314"/>
              <a:gd name="connsiteY1" fmla="*/ 10561 h 1622139"/>
              <a:gd name="connsiteX2" fmla="*/ 4501314 w 4501314"/>
              <a:gd name="connsiteY2" fmla="*/ 0 h 1622139"/>
              <a:gd name="connsiteX3" fmla="*/ 3426473 w 4501314"/>
              <a:gd name="connsiteY3" fmla="*/ 1620300 h 1622139"/>
              <a:gd name="connsiteX4" fmla="*/ 0 w 4501314"/>
              <a:gd name="connsiteY4" fmla="*/ 1622139 h 1622139"/>
              <a:gd name="connsiteX0" fmla="*/ 0 w 4702741"/>
              <a:gd name="connsiteY0" fmla="*/ 1617728 h 1620300"/>
              <a:gd name="connsiteX1" fmla="*/ 876654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876654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941398 w 4702741"/>
              <a:gd name="connsiteY1" fmla="*/ 6150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60292"/>
              <a:gd name="connsiteY0" fmla="*/ 1622139 h 1624711"/>
              <a:gd name="connsiteX1" fmla="*/ 1092467 w 4760292"/>
              <a:gd name="connsiteY1" fmla="*/ 14972 h 1624711"/>
              <a:gd name="connsiteX2" fmla="*/ 4760292 w 4760292"/>
              <a:gd name="connsiteY2" fmla="*/ 0 h 1624711"/>
              <a:gd name="connsiteX3" fmla="*/ 3627900 w 4760292"/>
              <a:gd name="connsiteY3" fmla="*/ 1624711 h 1624711"/>
              <a:gd name="connsiteX4" fmla="*/ 0 w 4760292"/>
              <a:gd name="connsiteY4" fmla="*/ 1622139 h 1624711"/>
              <a:gd name="connsiteX0" fmla="*/ 0 w 4760292"/>
              <a:gd name="connsiteY0" fmla="*/ 1622139 h 1624711"/>
              <a:gd name="connsiteX1" fmla="*/ 1092467 w 4760292"/>
              <a:gd name="connsiteY1" fmla="*/ 14972 h 1624711"/>
              <a:gd name="connsiteX2" fmla="*/ 4760292 w 4760292"/>
              <a:gd name="connsiteY2" fmla="*/ 0 h 1624711"/>
              <a:gd name="connsiteX3" fmla="*/ 3627900 w 4760292"/>
              <a:gd name="connsiteY3" fmla="*/ 1624711 h 1624711"/>
              <a:gd name="connsiteX4" fmla="*/ 0 w 4760292"/>
              <a:gd name="connsiteY4" fmla="*/ 1622139 h 1624711"/>
              <a:gd name="connsiteX0" fmla="*/ 0 w 4745905"/>
              <a:gd name="connsiteY0" fmla="*/ 1622139 h 1624711"/>
              <a:gd name="connsiteX1" fmla="*/ 1092467 w 4745905"/>
              <a:gd name="connsiteY1" fmla="*/ 14972 h 1624711"/>
              <a:gd name="connsiteX2" fmla="*/ 4745905 w 4745905"/>
              <a:gd name="connsiteY2" fmla="*/ 0 h 1624711"/>
              <a:gd name="connsiteX3" fmla="*/ 3627900 w 4745905"/>
              <a:gd name="connsiteY3" fmla="*/ 1624711 h 1624711"/>
              <a:gd name="connsiteX4" fmla="*/ 0 w 4745905"/>
              <a:gd name="connsiteY4" fmla="*/ 1622139 h 1624711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5177071"/>
              <a:gd name="connsiteY0" fmla="*/ 1613317 h 1615889"/>
              <a:gd name="connsiteX1" fmla="*/ 1092467 w 5177071"/>
              <a:gd name="connsiteY1" fmla="*/ 6150 h 1615889"/>
              <a:gd name="connsiteX2" fmla="*/ 4753098 w 5177071"/>
              <a:gd name="connsiteY2" fmla="*/ 0 h 1615889"/>
              <a:gd name="connsiteX3" fmla="*/ 5073914 w 5177071"/>
              <a:gd name="connsiteY3" fmla="*/ 1615889 h 1615889"/>
              <a:gd name="connsiteX4" fmla="*/ 0 w 5177071"/>
              <a:gd name="connsiteY4" fmla="*/ 1613317 h 1615889"/>
              <a:gd name="connsiteX0" fmla="*/ 0 w 5209131"/>
              <a:gd name="connsiteY0" fmla="*/ 1607265 h 1609837"/>
              <a:gd name="connsiteX1" fmla="*/ 1092467 w 5209131"/>
              <a:gd name="connsiteY1" fmla="*/ 98 h 1609837"/>
              <a:gd name="connsiteX2" fmla="*/ 5083757 w 5209131"/>
              <a:gd name="connsiteY2" fmla="*/ 0 h 1609837"/>
              <a:gd name="connsiteX3" fmla="*/ 5073914 w 5209131"/>
              <a:gd name="connsiteY3" fmla="*/ 1609837 h 1609837"/>
              <a:gd name="connsiteX4" fmla="*/ 0 w 5209131"/>
              <a:gd name="connsiteY4" fmla="*/ 1607265 h 1609837"/>
              <a:gd name="connsiteX0" fmla="*/ 0 w 5217936"/>
              <a:gd name="connsiteY0" fmla="*/ 1610291 h 1612863"/>
              <a:gd name="connsiteX1" fmla="*/ 1092467 w 5217936"/>
              <a:gd name="connsiteY1" fmla="*/ 3124 h 1612863"/>
              <a:gd name="connsiteX2" fmla="*/ 5147916 w 5217936"/>
              <a:gd name="connsiteY2" fmla="*/ 0 h 1612863"/>
              <a:gd name="connsiteX3" fmla="*/ 5073914 w 5217936"/>
              <a:gd name="connsiteY3" fmla="*/ 1612863 h 1612863"/>
              <a:gd name="connsiteX4" fmla="*/ 0 w 5217936"/>
              <a:gd name="connsiteY4" fmla="*/ 1610291 h 1612863"/>
              <a:gd name="connsiteX0" fmla="*/ 0 w 5217937"/>
              <a:gd name="connsiteY0" fmla="*/ 1610291 h 1612863"/>
              <a:gd name="connsiteX1" fmla="*/ 1092467 w 5217937"/>
              <a:gd name="connsiteY1" fmla="*/ 3124 h 1612863"/>
              <a:gd name="connsiteX2" fmla="*/ 5147916 w 5217937"/>
              <a:gd name="connsiteY2" fmla="*/ 0 h 1612863"/>
              <a:gd name="connsiteX3" fmla="*/ 5073914 w 5217937"/>
              <a:gd name="connsiteY3" fmla="*/ 1612863 h 1612863"/>
              <a:gd name="connsiteX4" fmla="*/ 0 w 5217937"/>
              <a:gd name="connsiteY4" fmla="*/ 1610291 h 1612863"/>
              <a:gd name="connsiteX0" fmla="*/ 0 w 5272857"/>
              <a:gd name="connsiteY0" fmla="*/ 1610291 h 1612863"/>
              <a:gd name="connsiteX1" fmla="*/ 1092467 w 5272857"/>
              <a:gd name="connsiteY1" fmla="*/ 3124 h 1612863"/>
              <a:gd name="connsiteX2" fmla="*/ 5147916 w 5272857"/>
              <a:gd name="connsiteY2" fmla="*/ 0 h 1612863"/>
              <a:gd name="connsiteX3" fmla="*/ 5073914 w 5272857"/>
              <a:gd name="connsiteY3" fmla="*/ 1612863 h 1612863"/>
              <a:gd name="connsiteX4" fmla="*/ 0 w 5272857"/>
              <a:gd name="connsiteY4" fmla="*/ 1610291 h 1612863"/>
              <a:gd name="connsiteX0" fmla="*/ 0 w 5147916"/>
              <a:gd name="connsiteY0" fmla="*/ 1610291 h 1612863"/>
              <a:gd name="connsiteX1" fmla="*/ 1092467 w 5147916"/>
              <a:gd name="connsiteY1" fmla="*/ 3124 h 1612863"/>
              <a:gd name="connsiteX2" fmla="*/ 5147916 w 5147916"/>
              <a:gd name="connsiteY2" fmla="*/ 0 h 1612863"/>
              <a:gd name="connsiteX3" fmla="*/ 5073914 w 5147916"/>
              <a:gd name="connsiteY3" fmla="*/ 1612863 h 1612863"/>
              <a:gd name="connsiteX4" fmla="*/ 0 w 5147916"/>
              <a:gd name="connsiteY4" fmla="*/ 1610291 h 1612863"/>
              <a:gd name="connsiteX0" fmla="*/ 0 w 5147916"/>
              <a:gd name="connsiteY0" fmla="*/ 1610291 h 1612863"/>
              <a:gd name="connsiteX1" fmla="*/ 1092467 w 5147916"/>
              <a:gd name="connsiteY1" fmla="*/ 3124 h 1612863"/>
              <a:gd name="connsiteX2" fmla="*/ 5147916 w 5147916"/>
              <a:gd name="connsiteY2" fmla="*/ 0 h 1612863"/>
              <a:gd name="connsiteX3" fmla="*/ 5039367 w 5147916"/>
              <a:gd name="connsiteY3" fmla="*/ 1612863 h 1612863"/>
              <a:gd name="connsiteX4" fmla="*/ 0 w 5147916"/>
              <a:gd name="connsiteY4" fmla="*/ 1610291 h 1612863"/>
              <a:gd name="connsiteX0" fmla="*/ 0 w 5147916"/>
              <a:gd name="connsiteY0" fmla="*/ 1610291 h 1612863"/>
              <a:gd name="connsiteX1" fmla="*/ 1092467 w 5147916"/>
              <a:gd name="connsiteY1" fmla="*/ 3124 h 1612863"/>
              <a:gd name="connsiteX2" fmla="*/ 5147916 w 5147916"/>
              <a:gd name="connsiteY2" fmla="*/ 0 h 1612863"/>
              <a:gd name="connsiteX3" fmla="*/ 5039367 w 5147916"/>
              <a:gd name="connsiteY3" fmla="*/ 1612863 h 1612863"/>
              <a:gd name="connsiteX4" fmla="*/ 0 w 5147916"/>
              <a:gd name="connsiteY4" fmla="*/ 1610291 h 1612863"/>
              <a:gd name="connsiteX0" fmla="*/ 0 w 5103500"/>
              <a:gd name="connsiteY0" fmla="*/ 1607265 h 1609837"/>
              <a:gd name="connsiteX1" fmla="*/ 1092467 w 5103500"/>
              <a:gd name="connsiteY1" fmla="*/ 98 h 1609837"/>
              <a:gd name="connsiteX2" fmla="*/ 5103500 w 5103500"/>
              <a:gd name="connsiteY2" fmla="*/ 0 h 1609837"/>
              <a:gd name="connsiteX3" fmla="*/ 5039367 w 5103500"/>
              <a:gd name="connsiteY3" fmla="*/ 1609837 h 1609837"/>
              <a:gd name="connsiteX4" fmla="*/ 0 w 5103500"/>
              <a:gd name="connsiteY4" fmla="*/ 1607265 h 1609837"/>
              <a:gd name="connsiteX0" fmla="*/ 0 w 5103500"/>
              <a:gd name="connsiteY0" fmla="*/ 1607265 h 1609837"/>
              <a:gd name="connsiteX1" fmla="*/ 1092467 w 5103500"/>
              <a:gd name="connsiteY1" fmla="*/ 98 h 1609837"/>
              <a:gd name="connsiteX2" fmla="*/ 5103500 w 5103500"/>
              <a:gd name="connsiteY2" fmla="*/ 0 h 1609837"/>
              <a:gd name="connsiteX3" fmla="*/ 5039367 w 5103500"/>
              <a:gd name="connsiteY3" fmla="*/ 1609837 h 1609837"/>
              <a:gd name="connsiteX4" fmla="*/ 0 w 5103500"/>
              <a:gd name="connsiteY4" fmla="*/ 1607265 h 1609837"/>
              <a:gd name="connsiteX0" fmla="*/ 0 w 5083759"/>
              <a:gd name="connsiteY0" fmla="*/ 1607167 h 1609739"/>
              <a:gd name="connsiteX1" fmla="*/ 1092467 w 5083759"/>
              <a:gd name="connsiteY1" fmla="*/ 0 h 1609739"/>
              <a:gd name="connsiteX2" fmla="*/ 5083759 w 5083759"/>
              <a:gd name="connsiteY2" fmla="*/ 2928 h 1609739"/>
              <a:gd name="connsiteX3" fmla="*/ 5039367 w 5083759"/>
              <a:gd name="connsiteY3" fmla="*/ 1609739 h 1609739"/>
              <a:gd name="connsiteX4" fmla="*/ 0 w 5083759"/>
              <a:gd name="connsiteY4" fmla="*/ 1607167 h 1609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83759" h="1609739">
                <a:moveTo>
                  <a:pt x="0" y="1607167"/>
                </a:moveTo>
                <a:lnTo>
                  <a:pt x="1092467" y="0"/>
                </a:lnTo>
                <a:lnTo>
                  <a:pt x="5083759" y="2928"/>
                </a:lnTo>
                <a:cubicBezTo>
                  <a:pt x="5050020" y="583418"/>
                  <a:pt x="5058283" y="998257"/>
                  <a:pt x="5039367" y="1609739"/>
                </a:cubicBezTo>
                <a:lnTo>
                  <a:pt x="0" y="1607167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7" name="Bildplatzhalter 4"/>
          <p:cNvSpPr>
            <a:spLocks noGrp="1"/>
          </p:cNvSpPr>
          <p:nvPr>
            <p:ph type="pic" sz="quarter" idx="16"/>
          </p:nvPr>
        </p:nvSpPr>
        <p:spPr>
          <a:xfrm>
            <a:off x="3194073" y="2570015"/>
            <a:ext cx="6016601" cy="2602190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60520 w 4105148"/>
              <a:gd name="connsiteY3" fmla="*/ 1531918 h 1611578"/>
              <a:gd name="connsiteX4" fmla="*/ 0 w 4105148"/>
              <a:gd name="connsiteY4" fmla="*/ 1611578 h 1611578"/>
              <a:gd name="connsiteX0" fmla="*/ 0 w 4080829"/>
              <a:gd name="connsiteY0" fmla="*/ 1548521 h 1548521"/>
              <a:gd name="connsiteX1" fmla="*/ 650908 w 4080829"/>
              <a:gd name="connsiteY1" fmla="*/ 173 h 1548521"/>
              <a:gd name="connsiteX2" fmla="*/ 4080829 w 4080829"/>
              <a:gd name="connsiteY2" fmla="*/ 173 h 1548521"/>
              <a:gd name="connsiteX3" fmla="*/ 3436201 w 4080829"/>
              <a:gd name="connsiteY3" fmla="*/ 1532091 h 1548521"/>
              <a:gd name="connsiteX4" fmla="*/ 0 w 4080829"/>
              <a:gd name="connsiteY4" fmla="*/ 1548521 h 1548521"/>
              <a:gd name="connsiteX0" fmla="*/ 0 w 4071101"/>
              <a:gd name="connsiteY0" fmla="*/ 1534149 h 1534149"/>
              <a:gd name="connsiteX1" fmla="*/ 641180 w 4071101"/>
              <a:gd name="connsiteY1" fmla="*/ 392 h 1534149"/>
              <a:gd name="connsiteX2" fmla="*/ 4071101 w 4071101"/>
              <a:gd name="connsiteY2" fmla="*/ 392 h 1534149"/>
              <a:gd name="connsiteX3" fmla="*/ 3426473 w 4071101"/>
              <a:gd name="connsiteY3" fmla="*/ 1532310 h 1534149"/>
              <a:gd name="connsiteX4" fmla="*/ 0 w 4071101"/>
              <a:gd name="connsiteY4" fmla="*/ 1534149 h 1534149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6703 h 1542665"/>
              <a:gd name="connsiteX1" fmla="*/ 1313533 w 4071101"/>
              <a:gd name="connsiteY1" fmla="*/ 346 h 1542665"/>
              <a:gd name="connsiteX2" fmla="*/ 4071101 w 4071101"/>
              <a:gd name="connsiteY2" fmla="*/ 2946 h 1542665"/>
              <a:gd name="connsiteX3" fmla="*/ 2721847 w 4071101"/>
              <a:gd name="connsiteY3" fmla="*/ 1542665 h 1542665"/>
              <a:gd name="connsiteX4" fmla="*/ 0 w 4071101"/>
              <a:gd name="connsiteY4" fmla="*/ 1536703 h 1542665"/>
              <a:gd name="connsiteX0" fmla="*/ 0 w 4071101"/>
              <a:gd name="connsiteY0" fmla="*/ 1536703 h 1542665"/>
              <a:gd name="connsiteX1" fmla="*/ 1313533 w 4071101"/>
              <a:gd name="connsiteY1" fmla="*/ 346 h 1542665"/>
              <a:gd name="connsiteX2" fmla="*/ 4071101 w 4071101"/>
              <a:gd name="connsiteY2" fmla="*/ 2946 h 1542665"/>
              <a:gd name="connsiteX3" fmla="*/ 2721847 w 4071101"/>
              <a:gd name="connsiteY3" fmla="*/ 1542665 h 1542665"/>
              <a:gd name="connsiteX4" fmla="*/ 0 w 4071101"/>
              <a:gd name="connsiteY4" fmla="*/ 1536703 h 1542665"/>
              <a:gd name="connsiteX0" fmla="*/ 0 w 4071101"/>
              <a:gd name="connsiteY0" fmla="*/ 1536357 h 1542319"/>
              <a:gd name="connsiteX1" fmla="*/ 1313533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24291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51185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56564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49586"/>
              <a:gd name="connsiteY0" fmla="*/ 1536357 h 1542319"/>
              <a:gd name="connsiteX1" fmla="*/ 1335049 w 4049586"/>
              <a:gd name="connsiteY1" fmla="*/ 0 h 1542319"/>
              <a:gd name="connsiteX2" fmla="*/ 4049586 w 4049586"/>
              <a:gd name="connsiteY2" fmla="*/ 2600 h 1542319"/>
              <a:gd name="connsiteX3" fmla="*/ 2700332 w 4049586"/>
              <a:gd name="connsiteY3" fmla="*/ 1542319 h 1542319"/>
              <a:gd name="connsiteX4" fmla="*/ 0 w 4049586"/>
              <a:gd name="connsiteY4" fmla="*/ 1536357 h 1542319"/>
              <a:gd name="connsiteX0" fmla="*/ 0 w 4054965"/>
              <a:gd name="connsiteY0" fmla="*/ 1533756 h 1542319"/>
              <a:gd name="connsiteX1" fmla="*/ 1340428 w 4054965"/>
              <a:gd name="connsiteY1" fmla="*/ 0 h 1542319"/>
              <a:gd name="connsiteX2" fmla="*/ 4054965 w 4054965"/>
              <a:gd name="connsiteY2" fmla="*/ 2600 h 1542319"/>
              <a:gd name="connsiteX3" fmla="*/ 2705711 w 4054965"/>
              <a:gd name="connsiteY3" fmla="*/ 1542319 h 1542319"/>
              <a:gd name="connsiteX4" fmla="*/ 0 w 4054965"/>
              <a:gd name="connsiteY4" fmla="*/ 1533756 h 1542319"/>
              <a:gd name="connsiteX0" fmla="*/ 0 w 4054965"/>
              <a:gd name="connsiteY0" fmla="*/ 1533756 h 1542319"/>
              <a:gd name="connsiteX1" fmla="*/ 1340428 w 4054965"/>
              <a:gd name="connsiteY1" fmla="*/ 0 h 1542319"/>
              <a:gd name="connsiteX2" fmla="*/ 4054965 w 4054965"/>
              <a:gd name="connsiteY2" fmla="*/ 2600 h 1542319"/>
              <a:gd name="connsiteX3" fmla="*/ 2705711 w 4054965"/>
              <a:gd name="connsiteY3" fmla="*/ 1542319 h 1542319"/>
              <a:gd name="connsiteX4" fmla="*/ 0 w 4054965"/>
              <a:gd name="connsiteY4" fmla="*/ 1533756 h 1542319"/>
              <a:gd name="connsiteX0" fmla="*/ 0 w 7405415"/>
              <a:gd name="connsiteY0" fmla="*/ 1533963 h 1542526"/>
              <a:gd name="connsiteX1" fmla="*/ 1340428 w 7405415"/>
              <a:gd name="connsiteY1" fmla="*/ 207 h 1542526"/>
              <a:gd name="connsiteX2" fmla="*/ 7405415 w 7405415"/>
              <a:gd name="connsiteY2" fmla="*/ 0 h 1542526"/>
              <a:gd name="connsiteX3" fmla="*/ 2705711 w 7405415"/>
              <a:gd name="connsiteY3" fmla="*/ 1542526 h 1542526"/>
              <a:gd name="connsiteX4" fmla="*/ 0 w 7405415"/>
              <a:gd name="connsiteY4" fmla="*/ 1533963 h 1542526"/>
              <a:gd name="connsiteX0" fmla="*/ 0 w 7341541"/>
              <a:gd name="connsiteY0" fmla="*/ 1533963 h 1542526"/>
              <a:gd name="connsiteX1" fmla="*/ 1340428 w 7341541"/>
              <a:gd name="connsiteY1" fmla="*/ 207 h 1542526"/>
              <a:gd name="connsiteX2" fmla="*/ 7341541 w 7341541"/>
              <a:gd name="connsiteY2" fmla="*/ 0 h 1542526"/>
              <a:gd name="connsiteX3" fmla="*/ 2705711 w 7341541"/>
              <a:gd name="connsiteY3" fmla="*/ 1542526 h 1542526"/>
              <a:gd name="connsiteX4" fmla="*/ 0 w 7341541"/>
              <a:gd name="connsiteY4" fmla="*/ 1533963 h 1542526"/>
              <a:gd name="connsiteX0" fmla="*/ 0 w 7515256"/>
              <a:gd name="connsiteY0" fmla="*/ 1533963 h 1534104"/>
              <a:gd name="connsiteX1" fmla="*/ 1340428 w 7515256"/>
              <a:gd name="connsiteY1" fmla="*/ 207 h 1534104"/>
              <a:gd name="connsiteX2" fmla="*/ 7341541 w 7515256"/>
              <a:gd name="connsiteY2" fmla="*/ 0 h 1534104"/>
              <a:gd name="connsiteX3" fmla="*/ 7316210 w 7515256"/>
              <a:gd name="connsiteY3" fmla="*/ 1534104 h 1534104"/>
              <a:gd name="connsiteX4" fmla="*/ 0 w 7515256"/>
              <a:gd name="connsiteY4" fmla="*/ 1533963 h 1534104"/>
              <a:gd name="connsiteX0" fmla="*/ 0 w 7341541"/>
              <a:gd name="connsiteY0" fmla="*/ 1533963 h 1534104"/>
              <a:gd name="connsiteX1" fmla="*/ 1340428 w 7341541"/>
              <a:gd name="connsiteY1" fmla="*/ 207 h 1534104"/>
              <a:gd name="connsiteX2" fmla="*/ 7341541 w 7341541"/>
              <a:gd name="connsiteY2" fmla="*/ 0 h 1534104"/>
              <a:gd name="connsiteX3" fmla="*/ 7316210 w 7341541"/>
              <a:gd name="connsiteY3" fmla="*/ 1534104 h 1534104"/>
              <a:gd name="connsiteX4" fmla="*/ 0 w 7341541"/>
              <a:gd name="connsiteY4" fmla="*/ 1533963 h 1534104"/>
              <a:gd name="connsiteX0" fmla="*/ 0 w 7341541"/>
              <a:gd name="connsiteY0" fmla="*/ 1533963 h 1534104"/>
              <a:gd name="connsiteX1" fmla="*/ 1340428 w 7341541"/>
              <a:gd name="connsiteY1" fmla="*/ 207 h 1534104"/>
              <a:gd name="connsiteX2" fmla="*/ 7341541 w 7341541"/>
              <a:gd name="connsiteY2" fmla="*/ 0 h 1534104"/>
              <a:gd name="connsiteX3" fmla="*/ 7316210 w 7341541"/>
              <a:gd name="connsiteY3" fmla="*/ 1534104 h 1534104"/>
              <a:gd name="connsiteX4" fmla="*/ 0 w 7341541"/>
              <a:gd name="connsiteY4" fmla="*/ 1533963 h 1534104"/>
              <a:gd name="connsiteX0" fmla="*/ 0 w 7341541"/>
              <a:gd name="connsiteY0" fmla="*/ 1533963 h 1534104"/>
              <a:gd name="connsiteX1" fmla="*/ 1340428 w 7341541"/>
              <a:gd name="connsiteY1" fmla="*/ 207 h 1534104"/>
              <a:gd name="connsiteX2" fmla="*/ 7341541 w 7341541"/>
              <a:gd name="connsiteY2" fmla="*/ 0 h 1534104"/>
              <a:gd name="connsiteX3" fmla="*/ 7316210 w 7341541"/>
              <a:gd name="connsiteY3" fmla="*/ 1534104 h 1534104"/>
              <a:gd name="connsiteX4" fmla="*/ 0 w 7341541"/>
              <a:gd name="connsiteY4" fmla="*/ 1533963 h 1534104"/>
              <a:gd name="connsiteX0" fmla="*/ 0 w 7341541"/>
              <a:gd name="connsiteY0" fmla="*/ 1533963 h 1534104"/>
              <a:gd name="connsiteX1" fmla="*/ 1340428 w 7341541"/>
              <a:gd name="connsiteY1" fmla="*/ 207 h 1534104"/>
              <a:gd name="connsiteX2" fmla="*/ 7341541 w 7341541"/>
              <a:gd name="connsiteY2" fmla="*/ 0 h 1534104"/>
              <a:gd name="connsiteX3" fmla="*/ 7316210 w 7341541"/>
              <a:gd name="connsiteY3" fmla="*/ 1534104 h 1534104"/>
              <a:gd name="connsiteX4" fmla="*/ 0 w 7341541"/>
              <a:gd name="connsiteY4" fmla="*/ 1533963 h 1534104"/>
              <a:gd name="connsiteX0" fmla="*/ 0 w 7324122"/>
              <a:gd name="connsiteY0" fmla="*/ 1533756 h 1533897"/>
              <a:gd name="connsiteX1" fmla="*/ 1340428 w 7324122"/>
              <a:gd name="connsiteY1" fmla="*/ 0 h 1533897"/>
              <a:gd name="connsiteX2" fmla="*/ 7324122 w 7324122"/>
              <a:gd name="connsiteY2" fmla="*/ 2600 h 1533897"/>
              <a:gd name="connsiteX3" fmla="*/ 7316210 w 7324122"/>
              <a:gd name="connsiteY3" fmla="*/ 1533897 h 1533897"/>
              <a:gd name="connsiteX4" fmla="*/ 0 w 7324122"/>
              <a:gd name="connsiteY4" fmla="*/ 1533756 h 1533897"/>
              <a:gd name="connsiteX0" fmla="*/ 0 w 7324122"/>
              <a:gd name="connsiteY0" fmla="*/ 1533756 h 1533897"/>
              <a:gd name="connsiteX1" fmla="*/ 1340428 w 7324122"/>
              <a:gd name="connsiteY1" fmla="*/ 0 h 1533897"/>
              <a:gd name="connsiteX2" fmla="*/ 7324122 w 7324122"/>
              <a:gd name="connsiteY2" fmla="*/ 2600 h 1533897"/>
              <a:gd name="connsiteX3" fmla="*/ 7316210 w 7324122"/>
              <a:gd name="connsiteY3" fmla="*/ 1533897 h 1533897"/>
              <a:gd name="connsiteX4" fmla="*/ 0 w 7324122"/>
              <a:gd name="connsiteY4" fmla="*/ 1533756 h 1533897"/>
              <a:gd name="connsiteX0" fmla="*/ 0 w 7335735"/>
              <a:gd name="connsiteY0" fmla="*/ 1533756 h 1533897"/>
              <a:gd name="connsiteX1" fmla="*/ 1352041 w 7335735"/>
              <a:gd name="connsiteY1" fmla="*/ 0 h 1533897"/>
              <a:gd name="connsiteX2" fmla="*/ 7335735 w 7335735"/>
              <a:gd name="connsiteY2" fmla="*/ 2600 h 1533897"/>
              <a:gd name="connsiteX3" fmla="*/ 7327823 w 7335735"/>
              <a:gd name="connsiteY3" fmla="*/ 1533897 h 1533897"/>
              <a:gd name="connsiteX4" fmla="*/ 0 w 7335735"/>
              <a:gd name="connsiteY4" fmla="*/ 1533756 h 1533897"/>
              <a:gd name="connsiteX0" fmla="*/ 0 w 7324122"/>
              <a:gd name="connsiteY0" fmla="*/ 1533756 h 1533897"/>
              <a:gd name="connsiteX1" fmla="*/ 1340428 w 7324122"/>
              <a:gd name="connsiteY1" fmla="*/ 0 h 1533897"/>
              <a:gd name="connsiteX2" fmla="*/ 7324122 w 7324122"/>
              <a:gd name="connsiteY2" fmla="*/ 2600 h 1533897"/>
              <a:gd name="connsiteX3" fmla="*/ 7316210 w 7324122"/>
              <a:gd name="connsiteY3" fmla="*/ 1533897 h 1533897"/>
              <a:gd name="connsiteX4" fmla="*/ 0 w 7324122"/>
              <a:gd name="connsiteY4" fmla="*/ 1533756 h 1533897"/>
              <a:gd name="connsiteX0" fmla="*/ 0 w 7335735"/>
              <a:gd name="connsiteY0" fmla="*/ 1533756 h 1533897"/>
              <a:gd name="connsiteX1" fmla="*/ 1352041 w 7335735"/>
              <a:gd name="connsiteY1" fmla="*/ 0 h 1533897"/>
              <a:gd name="connsiteX2" fmla="*/ 7335735 w 7335735"/>
              <a:gd name="connsiteY2" fmla="*/ 2600 h 1533897"/>
              <a:gd name="connsiteX3" fmla="*/ 7327823 w 7335735"/>
              <a:gd name="connsiteY3" fmla="*/ 1533897 h 1533897"/>
              <a:gd name="connsiteX4" fmla="*/ 0 w 7335735"/>
              <a:gd name="connsiteY4" fmla="*/ 1533756 h 1533897"/>
              <a:gd name="connsiteX0" fmla="*/ 0 w 7335735"/>
              <a:gd name="connsiteY0" fmla="*/ 1533756 h 1533897"/>
              <a:gd name="connsiteX1" fmla="*/ 1352041 w 7335735"/>
              <a:gd name="connsiteY1" fmla="*/ 0 h 1533897"/>
              <a:gd name="connsiteX2" fmla="*/ 7335735 w 7335735"/>
              <a:gd name="connsiteY2" fmla="*/ 2600 h 1533897"/>
              <a:gd name="connsiteX3" fmla="*/ 7327823 w 7335735"/>
              <a:gd name="connsiteY3" fmla="*/ 1533897 h 1533897"/>
              <a:gd name="connsiteX4" fmla="*/ 0 w 7335735"/>
              <a:gd name="connsiteY4" fmla="*/ 1533756 h 1533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35735" h="1533897">
                <a:moveTo>
                  <a:pt x="0" y="1533756"/>
                </a:moveTo>
                <a:lnTo>
                  <a:pt x="1352041" y="0"/>
                </a:lnTo>
                <a:lnTo>
                  <a:pt x="7335735" y="2600"/>
                </a:lnTo>
                <a:cubicBezTo>
                  <a:pt x="7329652" y="557353"/>
                  <a:pt x="7332496" y="837180"/>
                  <a:pt x="7327823" y="1533897"/>
                </a:cubicBezTo>
                <a:lnTo>
                  <a:pt x="0" y="1533756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9" name="Bildplatzhalter 9"/>
          <p:cNvSpPr>
            <a:spLocks noGrp="1"/>
          </p:cNvSpPr>
          <p:nvPr>
            <p:ph type="pic" sz="quarter" idx="14"/>
          </p:nvPr>
        </p:nvSpPr>
        <p:spPr>
          <a:xfrm>
            <a:off x="-62555" y="1290825"/>
            <a:ext cx="4861229" cy="3908518"/>
          </a:xfrm>
          <a:custGeom>
            <a:avLst/>
            <a:gdLst>
              <a:gd name="connsiteX0" fmla="*/ 0 w 4394200"/>
              <a:gd name="connsiteY0" fmla="*/ 2970212 h 2970212"/>
              <a:gd name="connsiteX1" fmla="*/ 742553 w 4394200"/>
              <a:gd name="connsiteY1" fmla="*/ 0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8341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324200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2364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699000"/>
              <a:gd name="connsiteY0" fmla="*/ 2970212 h 2970212"/>
              <a:gd name="connsiteX1" fmla="*/ 282364 w 4699000"/>
              <a:gd name="connsiteY1" fmla="*/ 5976 h 2970212"/>
              <a:gd name="connsiteX2" fmla="*/ 4699000 w 4699000"/>
              <a:gd name="connsiteY2" fmla="*/ 0 h 2970212"/>
              <a:gd name="connsiteX3" fmla="*/ 3651647 w 4699000"/>
              <a:gd name="connsiteY3" fmla="*/ 2970212 h 2970212"/>
              <a:gd name="connsiteX4" fmla="*/ 0 w 4699000"/>
              <a:gd name="connsiteY4" fmla="*/ 2970212 h 2970212"/>
              <a:gd name="connsiteX0" fmla="*/ 0 w 4699000"/>
              <a:gd name="connsiteY0" fmla="*/ 2970212 h 3998165"/>
              <a:gd name="connsiteX1" fmla="*/ 282364 w 4699000"/>
              <a:gd name="connsiteY1" fmla="*/ 5976 h 3998165"/>
              <a:gd name="connsiteX2" fmla="*/ 4699000 w 4699000"/>
              <a:gd name="connsiteY2" fmla="*/ 0 h 3998165"/>
              <a:gd name="connsiteX3" fmla="*/ 3006188 w 4699000"/>
              <a:gd name="connsiteY3" fmla="*/ 3998165 h 3998165"/>
              <a:gd name="connsiteX4" fmla="*/ 0 w 4699000"/>
              <a:gd name="connsiteY4" fmla="*/ 2970212 h 3998165"/>
              <a:gd name="connsiteX0" fmla="*/ 10483 w 4416636"/>
              <a:gd name="connsiteY0" fmla="*/ 3872659 h 3998165"/>
              <a:gd name="connsiteX1" fmla="*/ 0 w 4416636"/>
              <a:gd name="connsiteY1" fmla="*/ 5976 h 3998165"/>
              <a:gd name="connsiteX2" fmla="*/ 4416636 w 4416636"/>
              <a:gd name="connsiteY2" fmla="*/ 0 h 3998165"/>
              <a:gd name="connsiteX3" fmla="*/ 2723824 w 4416636"/>
              <a:gd name="connsiteY3" fmla="*/ 3998165 h 3998165"/>
              <a:gd name="connsiteX4" fmla="*/ 10483 w 4416636"/>
              <a:gd name="connsiteY4" fmla="*/ 3872659 h 3998165"/>
              <a:gd name="connsiteX0" fmla="*/ 10483 w 4416636"/>
              <a:gd name="connsiteY0" fmla="*/ 3872659 h 3890588"/>
              <a:gd name="connsiteX1" fmla="*/ 0 w 4416636"/>
              <a:gd name="connsiteY1" fmla="*/ 5976 h 3890588"/>
              <a:gd name="connsiteX2" fmla="*/ 4416636 w 4416636"/>
              <a:gd name="connsiteY2" fmla="*/ 0 h 3890588"/>
              <a:gd name="connsiteX3" fmla="*/ 2777613 w 4416636"/>
              <a:gd name="connsiteY3" fmla="*/ 3890588 h 3890588"/>
              <a:gd name="connsiteX4" fmla="*/ 10483 w 4416636"/>
              <a:gd name="connsiteY4" fmla="*/ 3872659 h 3890588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77613 w 4416636"/>
              <a:gd name="connsiteY3" fmla="*/ 3890588 h 3914494"/>
              <a:gd name="connsiteX4" fmla="*/ 10483 w 4416636"/>
              <a:gd name="connsiteY4" fmla="*/ 3914494 h 3914494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64734 w 4416636"/>
              <a:gd name="connsiteY3" fmla="*/ 3897027 h 3914494"/>
              <a:gd name="connsiteX4" fmla="*/ 10483 w 4416636"/>
              <a:gd name="connsiteY4" fmla="*/ 3914494 h 3914494"/>
              <a:gd name="connsiteX0" fmla="*/ 20 w 4860385"/>
              <a:gd name="connsiteY0" fmla="*/ 3908518 h 3908518"/>
              <a:gd name="connsiteX1" fmla="*/ 443749 w 4860385"/>
              <a:gd name="connsiteY1" fmla="*/ 5976 h 3908518"/>
              <a:gd name="connsiteX2" fmla="*/ 4860385 w 4860385"/>
              <a:gd name="connsiteY2" fmla="*/ 0 h 3908518"/>
              <a:gd name="connsiteX3" fmla="*/ 3208483 w 4860385"/>
              <a:gd name="connsiteY3" fmla="*/ 3897027 h 3908518"/>
              <a:gd name="connsiteX4" fmla="*/ 20 w 4860385"/>
              <a:gd name="connsiteY4" fmla="*/ 3908518 h 3908518"/>
              <a:gd name="connsiteX0" fmla="*/ 864 w 4861229"/>
              <a:gd name="connsiteY0" fmla="*/ 3908518 h 3908518"/>
              <a:gd name="connsiteX1" fmla="*/ 2334 w 4861229"/>
              <a:gd name="connsiteY1" fmla="*/ 5976 h 3908518"/>
              <a:gd name="connsiteX2" fmla="*/ 4861229 w 4861229"/>
              <a:gd name="connsiteY2" fmla="*/ 0 h 3908518"/>
              <a:gd name="connsiteX3" fmla="*/ 3209327 w 4861229"/>
              <a:gd name="connsiteY3" fmla="*/ 3897027 h 3908518"/>
              <a:gd name="connsiteX4" fmla="*/ 864 w 4861229"/>
              <a:gd name="connsiteY4" fmla="*/ 3908518 h 3908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61229" h="3908518">
                <a:moveTo>
                  <a:pt x="864" y="3908518"/>
                </a:moveTo>
                <a:cubicBezTo>
                  <a:pt x="-2630" y="2619624"/>
                  <a:pt x="5828" y="1294870"/>
                  <a:pt x="2334" y="5976"/>
                </a:cubicBezTo>
                <a:lnTo>
                  <a:pt x="4861229" y="0"/>
                </a:lnTo>
                <a:lnTo>
                  <a:pt x="3209327" y="3897027"/>
                </a:lnTo>
                <a:lnTo>
                  <a:pt x="864" y="390851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5866" y="474380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8"/>
          </p:nvPr>
        </p:nvSpPr>
        <p:spPr>
          <a:xfrm>
            <a:off x="8419364" y="0"/>
            <a:ext cx="537069" cy="337532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0" name="Textfeld 9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12005762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2-spaltiger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4703229" y="1422400"/>
            <a:ext cx="38988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45866" y="1422400"/>
            <a:ext cx="3913098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75597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60">
          <p15:clr>
            <a:srgbClr val="FBAE40"/>
          </p15:clr>
        </p15:guide>
        <p15:guide id="2" pos="2810">
          <p15:clr>
            <a:srgbClr val="FBAE40"/>
          </p15:clr>
        </p15:guide>
        <p15:guide id="3" orient="horz" pos="89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3-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545866" y="1422400"/>
            <a:ext cx="25200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3316949" y="1422400"/>
            <a:ext cx="25200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6085838" y="1422400"/>
            <a:ext cx="25200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759267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29">
          <p15:clr>
            <a:srgbClr val="FBAE40"/>
          </p15:clr>
        </p15:guide>
        <p15:guide id="2" pos="2087">
          <p15:clr>
            <a:srgbClr val="FBAE40"/>
          </p15:clr>
        </p15:guide>
        <p15:guide id="3" pos="3675">
          <p15:clr>
            <a:srgbClr val="FBAE40"/>
          </p15:clr>
        </p15:guide>
        <p15:guide id="4" pos="3827">
          <p15:clr>
            <a:srgbClr val="FBAE40"/>
          </p15:clr>
        </p15:guide>
        <p15:guide id="5" orient="horz" pos="89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4-spalt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545866" y="1422400"/>
            <a:ext cx="8057777" cy="3178176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43509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ten 1-zeilig + ganzseit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1"/>
          </p:nvPr>
        </p:nvSpPr>
        <p:spPr>
          <a:xfrm>
            <a:off x="0" y="0"/>
            <a:ext cx="9147175" cy="514508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3714750"/>
            <a:ext cx="8057777" cy="1011180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138113" y="4169729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39763860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3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ten 2-zeilig + ganzseit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1"/>
          </p:nvPr>
        </p:nvSpPr>
        <p:spPr>
          <a:xfrm>
            <a:off x="0" y="0"/>
            <a:ext cx="9147175" cy="514508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545866" y="3980422"/>
            <a:ext cx="8057777" cy="744818"/>
          </a:xfrm>
        </p:spPr>
        <p:txBody>
          <a:bodyPr anchor="b" anchorCtr="0"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7" name="Textfeld 6"/>
          <p:cNvSpPr txBox="1"/>
          <p:nvPr userDrawn="1"/>
        </p:nvSpPr>
        <p:spPr>
          <a:xfrm>
            <a:off x="138113" y="3640226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765387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9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onsor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r Verbinder 4"/>
          <p:cNvCxnSpPr/>
          <p:nvPr userDrawn="1"/>
        </p:nvCxnSpPr>
        <p:spPr>
          <a:xfrm flipH="1">
            <a:off x="1452879" y="-191069"/>
            <a:ext cx="2367886" cy="557511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2801721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3511917" y="1422400"/>
            <a:ext cx="5093922" cy="6084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3197225" y="2113627"/>
            <a:ext cx="5408613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2879725" y="2806441"/>
            <a:ext cx="5726113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555875" y="3499255"/>
            <a:ext cx="6049963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5"/>
          </p:nvPr>
        </p:nvSpPr>
        <p:spPr>
          <a:xfrm>
            <a:off x="2201863" y="4192068"/>
            <a:ext cx="6403975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64002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onsoring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1"/>
          </p:nvPr>
        </p:nvSpPr>
        <p:spPr>
          <a:xfrm>
            <a:off x="-4762" y="0"/>
            <a:ext cx="4303712" cy="5145088"/>
          </a:xfrm>
          <a:custGeom>
            <a:avLst/>
            <a:gdLst>
              <a:gd name="connsiteX0" fmla="*/ 0 w 4298950"/>
              <a:gd name="connsiteY0" fmla="*/ 5145088 h 5145088"/>
              <a:gd name="connsiteX1" fmla="*/ 1074738 w 4298950"/>
              <a:gd name="connsiteY1" fmla="*/ 0 h 5145088"/>
              <a:gd name="connsiteX2" fmla="*/ 4298950 w 4298950"/>
              <a:gd name="connsiteY2" fmla="*/ 0 h 5145088"/>
              <a:gd name="connsiteX3" fmla="*/ 3224213 w 4298950"/>
              <a:gd name="connsiteY3" fmla="*/ 5145088 h 5145088"/>
              <a:gd name="connsiteX4" fmla="*/ 0 w 4298950"/>
              <a:gd name="connsiteY4" fmla="*/ 5145088 h 5145088"/>
              <a:gd name="connsiteX0" fmla="*/ 4762 w 4303712"/>
              <a:gd name="connsiteY0" fmla="*/ 5145088 h 5145088"/>
              <a:gd name="connsiteX1" fmla="*/ 0 w 4303712"/>
              <a:gd name="connsiteY1" fmla="*/ 0 h 5145088"/>
              <a:gd name="connsiteX2" fmla="*/ 4303712 w 4303712"/>
              <a:gd name="connsiteY2" fmla="*/ 0 h 5145088"/>
              <a:gd name="connsiteX3" fmla="*/ 3228975 w 4303712"/>
              <a:gd name="connsiteY3" fmla="*/ 5145088 h 5145088"/>
              <a:gd name="connsiteX4" fmla="*/ 4762 w 4303712"/>
              <a:gd name="connsiteY4" fmla="*/ 5145088 h 5145088"/>
              <a:gd name="connsiteX0" fmla="*/ 4762 w 4303712"/>
              <a:gd name="connsiteY0" fmla="*/ 5145088 h 5151438"/>
              <a:gd name="connsiteX1" fmla="*/ 0 w 4303712"/>
              <a:gd name="connsiteY1" fmla="*/ 0 h 5151438"/>
              <a:gd name="connsiteX2" fmla="*/ 4303712 w 4303712"/>
              <a:gd name="connsiteY2" fmla="*/ 0 h 5151438"/>
              <a:gd name="connsiteX3" fmla="*/ 2124075 w 4303712"/>
              <a:gd name="connsiteY3" fmla="*/ 5151438 h 5151438"/>
              <a:gd name="connsiteX4" fmla="*/ 4762 w 4303712"/>
              <a:gd name="connsiteY4" fmla="*/ 5145088 h 5151438"/>
              <a:gd name="connsiteX0" fmla="*/ 4762 w 4303712"/>
              <a:gd name="connsiteY0" fmla="*/ 5145088 h 5145088"/>
              <a:gd name="connsiteX1" fmla="*/ 0 w 4303712"/>
              <a:gd name="connsiteY1" fmla="*/ 0 h 5145088"/>
              <a:gd name="connsiteX2" fmla="*/ 4303712 w 4303712"/>
              <a:gd name="connsiteY2" fmla="*/ 0 h 5145088"/>
              <a:gd name="connsiteX3" fmla="*/ 2124075 w 4303712"/>
              <a:gd name="connsiteY3" fmla="*/ 5145088 h 5145088"/>
              <a:gd name="connsiteX4" fmla="*/ 4762 w 4303712"/>
              <a:gd name="connsiteY4" fmla="*/ 5145088 h 5145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03712" h="5145088">
                <a:moveTo>
                  <a:pt x="4762" y="5145088"/>
                </a:moveTo>
                <a:cubicBezTo>
                  <a:pt x="3175" y="3430059"/>
                  <a:pt x="1587" y="1715029"/>
                  <a:pt x="0" y="0"/>
                </a:cubicBezTo>
                <a:lnTo>
                  <a:pt x="4303712" y="0"/>
                </a:lnTo>
                <a:lnTo>
                  <a:pt x="2124075" y="5145088"/>
                </a:lnTo>
                <a:lnTo>
                  <a:pt x="4762" y="514508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99000" y="474380"/>
            <a:ext cx="3906838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4354934" y="1422400"/>
            <a:ext cx="4250904" cy="6084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062413" y="2116461"/>
            <a:ext cx="4543425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3726025" y="2808362"/>
            <a:ext cx="4879814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5"/>
          </p:nvPr>
        </p:nvSpPr>
        <p:spPr>
          <a:xfrm>
            <a:off x="3408363" y="3500263"/>
            <a:ext cx="5197475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6"/>
          </p:nvPr>
        </p:nvSpPr>
        <p:spPr>
          <a:xfrm>
            <a:off x="3009900" y="4192166"/>
            <a:ext cx="5595938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108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x Bild+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2"/>
          </p:nvPr>
        </p:nvSpPr>
        <p:spPr>
          <a:xfrm>
            <a:off x="545866" y="1422400"/>
            <a:ext cx="1800000" cy="972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2" name="Bildplatzhalter 21"/>
          <p:cNvSpPr>
            <a:spLocks noGrp="1"/>
          </p:cNvSpPr>
          <p:nvPr>
            <p:ph type="pic" sz="quarter" idx="17"/>
          </p:nvPr>
        </p:nvSpPr>
        <p:spPr>
          <a:xfrm>
            <a:off x="2627313" y="1422400"/>
            <a:ext cx="1800000" cy="972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4" name="Bildplatzhalter 23"/>
          <p:cNvSpPr>
            <a:spLocks noGrp="1"/>
          </p:cNvSpPr>
          <p:nvPr>
            <p:ph type="pic" sz="quarter" idx="18"/>
          </p:nvPr>
        </p:nvSpPr>
        <p:spPr>
          <a:xfrm>
            <a:off x="4713288" y="1422400"/>
            <a:ext cx="1800000" cy="972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25"/>
          <p:cNvSpPr>
            <a:spLocks noGrp="1"/>
          </p:cNvSpPr>
          <p:nvPr>
            <p:ph type="pic" sz="quarter" idx="19"/>
          </p:nvPr>
        </p:nvSpPr>
        <p:spPr>
          <a:xfrm>
            <a:off x="6799580" y="1422400"/>
            <a:ext cx="1800000" cy="972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" name="Textfeld 5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547314" y="4392275"/>
            <a:ext cx="8064500" cy="234009"/>
          </a:xfrm>
        </p:spPr>
        <p:txBody>
          <a:bodyPr anchor="b" anchorCtr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545866" y="2526233"/>
            <a:ext cx="1800000" cy="13680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>
          <a:xfrm>
            <a:off x="2627388" y="2526233"/>
            <a:ext cx="1800000" cy="136842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5"/>
          </p:nvPr>
        </p:nvSpPr>
        <p:spPr>
          <a:xfrm>
            <a:off x="4713438" y="2526234"/>
            <a:ext cx="1800000" cy="13680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6"/>
          </p:nvPr>
        </p:nvSpPr>
        <p:spPr>
          <a:xfrm>
            <a:off x="6799488" y="2526233"/>
            <a:ext cx="1800000" cy="136842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51623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orient="horz" pos="1575">
          <p15:clr>
            <a:srgbClr val="FBAE40"/>
          </p15:clr>
        </p15:guide>
        <p15:guide id="3" orient="horz" pos="2754">
          <p15:clr>
            <a:srgbClr val="FBAE40"/>
          </p15:clr>
        </p15:guide>
        <p15:guide id="4" pos="2972">
          <p15:clr>
            <a:srgbClr val="FBAE40"/>
          </p15:clr>
        </p15:guide>
        <p15:guide id="5" pos="4287">
          <p15:clr>
            <a:srgbClr val="FBAE40"/>
          </p15:clr>
        </p15:guide>
        <p15:guide id="6" pos="1656">
          <p15:clr>
            <a:srgbClr val="FBAE40"/>
          </p15:clr>
        </p15:guide>
        <p15:guide id="7" pos="2790">
          <p15:clr>
            <a:srgbClr val="FBAE40"/>
          </p15:clr>
        </p15:guide>
        <p15:guide id="8" pos="4106">
          <p15:clr>
            <a:srgbClr val="FBAE40"/>
          </p15:clr>
        </p15:guide>
        <p15:guide id="9" pos="1475">
          <p15:clr>
            <a:srgbClr val="FBAE40"/>
          </p15:clr>
        </p15:guide>
        <p15:guide id="10" orient="horz" pos="24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 x Bild+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>
          <a:xfrm>
            <a:off x="545866" y="1422400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2628900" y="1422400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4718050" y="1422400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5"/>
          </p:nvPr>
        </p:nvSpPr>
        <p:spPr>
          <a:xfrm>
            <a:off x="6805613" y="1422400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7" name="Bildplatzhalter 16"/>
          <p:cNvSpPr>
            <a:spLocks noGrp="1"/>
          </p:cNvSpPr>
          <p:nvPr>
            <p:ph type="pic" sz="quarter" idx="16"/>
          </p:nvPr>
        </p:nvSpPr>
        <p:spPr>
          <a:xfrm>
            <a:off x="545866" y="3005138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7"/>
          </p:nvPr>
        </p:nvSpPr>
        <p:spPr>
          <a:xfrm>
            <a:off x="2628900" y="3005138"/>
            <a:ext cx="1800225" cy="72072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1" name="Bildplatzhalter 20"/>
          <p:cNvSpPr>
            <a:spLocks noGrp="1"/>
          </p:cNvSpPr>
          <p:nvPr>
            <p:ph type="pic" sz="quarter" idx="18"/>
          </p:nvPr>
        </p:nvSpPr>
        <p:spPr>
          <a:xfrm>
            <a:off x="4718050" y="3005138"/>
            <a:ext cx="1800225" cy="72072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7" name="Textfeld 6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9"/>
          </p:nvPr>
        </p:nvSpPr>
        <p:spPr>
          <a:xfrm>
            <a:off x="545866" y="2205457"/>
            <a:ext cx="1800225" cy="648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20"/>
          </p:nvPr>
        </p:nvSpPr>
        <p:spPr>
          <a:xfrm>
            <a:off x="2628900" y="2205457"/>
            <a:ext cx="1800225" cy="646511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21"/>
          </p:nvPr>
        </p:nvSpPr>
        <p:spPr>
          <a:xfrm>
            <a:off x="4718050" y="2205457"/>
            <a:ext cx="1800225" cy="646511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9" name="Textplatzhalter 28"/>
          <p:cNvSpPr>
            <a:spLocks noGrp="1"/>
          </p:cNvSpPr>
          <p:nvPr>
            <p:ph type="body" sz="quarter" idx="22"/>
          </p:nvPr>
        </p:nvSpPr>
        <p:spPr>
          <a:xfrm>
            <a:off x="6805613" y="2205456"/>
            <a:ext cx="1800225" cy="64651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3"/>
          </p:nvPr>
        </p:nvSpPr>
        <p:spPr>
          <a:xfrm>
            <a:off x="545866" y="3802817"/>
            <a:ext cx="1800225" cy="648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7" name="Textplatzhalter 36"/>
          <p:cNvSpPr>
            <a:spLocks noGrp="1"/>
          </p:cNvSpPr>
          <p:nvPr>
            <p:ph type="body" sz="quarter" idx="24"/>
          </p:nvPr>
        </p:nvSpPr>
        <p:spPr>
          <a:xfrm>
            <a:off x="2628900" y="3802817"/>
            <a:ext cx="1800225" cy="6492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9" name="Textplatzhalter 38"/>
          <p:cNvSpPr>
            <a:spLocks noGrp="1"/>
          </p:cNvSpPr>
          <p:nvPr>
            <p:ph type="body" sz="quarter" idx="25"/>
          </p:nvPr>
        </p:nvSpPr>
        <p:spPr>
          <a:xfrm>
            <a:off x="4724228" y="3802817"/>
            <a:ext cx="1800225" cy="6492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4212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1475">
          <p15:clr>
            <a:srgbClr val="FBAE40"/>
          </p15:clr>
        </p15:guide>
        <p15:guide id="3" pos="1656">
          <p15:clr>
            <a:srgbClr val="FBAE40"/>
          </p15:clr>
        </p15:guide>
        <p15:guide id="4" pos="2790">
          <p15:clr>
            <a:srgbClr val="FBAE40"/>
          </p15:clr>
        </p15:guide>
        <p15:guide id="5" pos="2972">
          <p15:clr>
            <a:srgbClr val="FBAE40"/>
          </p15:clr>
        </p15:guide>
        <p15:guide id="6" pos="4106">
          <p15:clr>
            <a:srgbClr val="FBAE40"/>
          </p15:clr>
        </p15:guide>
        <p15:guide id="7" pos="4287">
          <p15:clr>
            <a:srgbClr val="FBAE40"/>
          </p15:clr>
        </p15:guide>
        <p15:guide id="8" orient="horz" pos="1802">
          <p15:clr>
            <a:srgbClr val="FBAE40"/>
          </p15:clr>
        </p15:guide>
        <p15:guide id="9" orient="horz" pos="1893">
          <p15:clr>
            <a:srgbClr val="FBAE40"/>
          </p15:clr>
        </p15:guide>
        <p15:guide id="10" orient="horz" pos="2392">
          <p15:clr>
            <a:srgbClr val="FBAE40"/>
          </p15:clr>
        </p15:guide>
        <p15:guide id="11" orient="horz" pos="138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 Zahlen und Fakt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9FF52A-9417-B348-A7BA-C932EC279FA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801909" y="-13448"/>
            <a:ext cx="8082372" cy="5158535"/>
          </a:xfrm>
          <a:prstGeom prst="parallelogram">
            <a:avLst>
              <a:gd name="adj" fmla="val 42388"/>
            </a:avLst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433388" y="651742"/>
            <a:ext cx="3103188" cy="3947246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21705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3">
          <p15:clr>
            <a:srgbClr val="FBAE40"/>
          </p15:clr>
        </p15:guide>
        <p15:guide id="2" orient="horz" pos="464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 x Bild+Text (Icons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" name="Textfeld 5"/>
          <p:cNvSpPr txBox="1"/>
          <p:nvPr userDrawn="1"/>
        </p:nvSpPr>
        <p:spPr>
          <a:xfrm>
            <a:off x="329361" y="472894"/>
            <a:ext cx="2119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0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545866" y="533908"/>
            <a:ext cx="8064500" cy="1512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6805613" y="220545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6"/>
          </p:nvPr>
        </p:nvSpPr>
        <p:spPr>
          <a:xfrm>
            <a:off x="545866" y="220545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7"/>
          </p:nvPr>
        </p:nvSpPr>
        <p:spPr>
          <a:xfrm>
            <a:off x="2628900" y="220545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8"/>
          </p:nvPr>
        </p:nvSpPr>
        <p:spPr>
          <a:xfrm>
            <a:off x="4724874" y="2205457"/>
            <a:ext cx="1800225" cy="6477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6" name="Textplatzhalter 25"/>
          <p:cNvSpPr>
            <a:spLocks noGrp="1"/>
          </p:cNvSpPr>
          <p:nvPr>
            <p:ph type="body" sz="quarter" idx="20"/>
          </p:nvPr>
        </p:nvSpPr>
        <p:spPr>
          <a:xfrm>
            <a:off x="545866" y="380281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5"/>
          </p:nvPr>
        </p:nvSpPr>
        <p:spPr>
          <a:xfrm>
            <a:off x="2628900" y="380281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8" name="Textplatzhalter 37"/>
          <p:cNvSpPr>
            <a:spLocks noGrp="1"/>
          </p:cNvSpPr>
          <p:nvPr>
            <p:ph type="body" sz="quarter" idx="26"/>
          </p:nvPr>
        </p:nvSpPr>
        <p:spPr>
          <a:xfrm>
            <a:off x="4724874" y="3803117"/>
            <a:ext cx="1800225" cy="6477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2" name="Inhaltsplatzhalter 61"/>
          <p:cNvSpPr>
            <a:spLocks noGrp="1"/>
          </p:cNvSpPr>
          <p:nvPr>
            <p:ph sz="quarter" idx="27"/>
          </p:nvPr>
        </p:nvSpPr>
        <p:spPr>
          <a:xfrm>
            <a:off x="6805613" y="3005138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4" name="Inhaltsplatzhalter 63"/>
          <p:cNvSpPr>
            <a:spLocks noGrp="1"/>
          </p:cNvSpPr>
          <p:nvPr>
            <p:ph sz="quarter" idx="28"/>
          </p:nvPr>
        </p:nvSpPr>
        <p:spPr>
          <a:xfrm>
            <a:off x="4718050" y="3005138"/>
            <a:ext cx="1800000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6" name="Inhaltsplatzhalter 65"/>
          <p:cNvSpPr>
            <a:spLocks noGrp="1"/>
          </p:cNvSpPr>
          <p:nvPr>
            <p:ph sz="quarter" idx="29"/>
          </p:nvPr>
        </p:nvSpPr>
        <p:spPr>
          <a:xfrm>
            <a:off x="2628900" y="3005138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8" name="Inhaltsplatzhalter 67"/>
          <p:cNvSpPr>
            <a:spLocks noGrp="1"/>
          </p:cNvSpPr>
          <p:nvPr>
            <p:ph sz="quarter" idx="30"/>
          </p:nvPr>
        </p:nvSpPr>
        <p:spPr>
          <a:xfrm>
            <a:off x="545866" y="3005138"/>
            <a:ext cx="1800000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0" name="Textplatzhalter 69"/>
          <p:cNvSpPr>
            <a:spLocks noGrp="1"/>
          </p:cNvSpPr>
          <p:nvPr>
            <p:ph type="body" sz="quarter" idx="31"/>
          </p:nvPr>
        </p:nvSpPr>
        <p:spPr>
          <a:xfrm>
            <a:off x="6805613" y="3803396"/>
            <a:ext cx="1800225" cy="648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2" name="Inhaltsplatzhalter 71"/>
          <p:cNvSpPr>
            <a:spLocks noGrp="1"/>
          </p:cNvSpPr>
          <p:nvPr>
            <p:ph sz="quarter" idx="32"/>
          </p:nvPr>
        </p:nvSpPr>
        <p:spPr>
          <a:xfrm>
            <a:off x="545866" y="1422400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4" name="Inhaltsplatzhalter 73"/>
          <p:cNvSpPr>
            <a:spLocks noGrp="1"/>
          </p:cNvSpPr>
          <p:nvPr>
            <p:ph sz="quarter" idx="33"/>
          </p:nvPr>
        </p:nvSpPr>
        <p:spPr>
          <a:xfrm>
            <a:off x="2628900" y="1422400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6" name="Inhaltsplatzhalter 75"/>
          <p:cNvSpPr>
            <a:spLocks noGrp="1"/>
          </p:cNvSpPr>
          <p:nvPr>
            <p:ph sz="quarter" idx="34"/>
          </p:nvPr>
        </p:nvSpPr>
        <p:spPr>
          <a:xfrm>
            <a:off x="4724400" y="1422400"/>
            <a:ext cx="1800225" cy="648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8" name="Inhaltsplatzhalter 77"/>
          <p:cNvSpPr>
            <a:spLocks noGrp="1"/>
          </p:cNvSpPr>
          <p:nvPr>
            <p:ph sz="quarter" idx="35"/>
          </p:nvPr>
        </p:nvSpPr>
        <p:spPr>
          <a:xfrm>
            <a:off x="6805613" y="1422400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880648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1475">
          <p15:clr>
            <a:srgbClr val="FBAE40"/>
          </p15:clr>
        </p15:guide>
        <p15:guide id="3" pos="1656">
          <p15:clr>
            <a:srgbClr val="FBAE40"/>
          </p15:clr>
        </p15:guide>
        <p15:guide id="4" pos="2790">
          <p15:clr>
            <a:srgbClr val="FBAE40"/>
          </p15:clr>
        </p15:guide>
        <p15:guide id="5" pos="2972">
          <p15:clr>
            <a:srgbClr val="FBAE40"/>
          </p15:clr>
        </p15:guide>
        <p15:guide id="6" pos="4106">
          <p15:clr>
            <a:srgbClr val="FBAE40"/>
          </p15:clr>
        </p15:guide>
        <p15:guide id="7" pos="4287">
          <p15:clr>
            <a:srgbClr val="FBAE40"/>
          </p15:clr>
        </p15:guide>
        <p15:guide id="8" orient="horz" pos="1802">
          <p15:clr>
            <a:srgbClr val="FBAE40"/>
          </p15:clr>
        </p15:guide>
        <p15:guide id="9" orient="horz" pos="1388">
          <p15:clr>
            <a:srgbClr val="FBAE40"/>
          </p15:clr>
        </p15:guide>
        <p15:guide id="10" orient="horz" pos="1893">
          <p15:clr>
            <a:srgbClr val="FBAE40"/>
          </p15:clr>
        </p15:guide>
        <p15:guide id="11" orient="horz" pos="2392">
          <p15:clr>
            <a:srgbClr val="FBAE40"/>
          </p15:clr>
        </p15:guide>
        <p15:guide id="12" orient="horz" pos="2301">
          <p15:clr>
            <a:srgbClr val="FBAE40"/>
          </p15:clr>
        </p15:guide>
        <p15:guide id="13" orient="horz" pos="1303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x Bild+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>
          <a:xfrm>
            <a:off x="545866" y="1422400"/>
            <a:ext cx="2520000" cy="1186464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3643141" y="1422400"/>
            <a:ext cx="2520000" cy="1188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4" name="Textfeld 3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>
          <a:xfrm>
            <a:off x="545866" y="4378152"/>
            <a:ext cx="8064500" cy="234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545866" y="2732517"/>
            <a:ext cx="2520000" cy="13843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5"/>
          </p:nvPr>
        </p:nvSpPr>
        <p:spPr>
          <a:xfrm>
            <a:off x="3643141" y="2732517"/>
            <a:ext cx="2520000" cy="137795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98508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orient="horz" pos="2754">
          <p15:clr>
            <a:srgbClr val="FBAE40"/>
          </p15:clr>
        </p15:guide>
        <p15:guide id="3" pos="1928">
          <p15:clr>
            <a:srgbClr val="FBAE40"/>
          </p15:clr>
        </p15:guide>
        <p15:guide id="4" orient="horz" pos="1720">
          <p15:clr>
            <a:srgbClr val="FBAE40"/>
          </p15:clr>
        </p15:guide>
        <p15:guide id="5" pos="2291">
          <p15:clr>
            <a:srgbClr val="FBAE40"/>
          </p15:clr>
        </p15:guide>
        <p15:guide id="6" pos="3888">
          <p15:clr>
            <a:srgbClr val="FBAE40"/>
          </p15:clr>
        </p15:guide>
        <p15:guide id="7" orient="horz" pos="259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 + Text und Bild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702347" y="1403497"/>
            <a:ext cx="3898800" cy="994933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4"/>
          </p:nvPr>
        </p:nvSpPr>
        <p:spPr>
          <a:xfrm>
            <a:off x="545866" y="1422400"/>
            <a:ext cx="3900487" cy="317817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4702175" y="2514600"/>
            <a:ext cx="3903663" cy="208438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341984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2798">
          <p15:clr>
            <a:srgbClr val="FBAE40"/>
          </p15:clr>
        </p15:guide>
        <p15:guide id="3" pos="295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gebotsportfoli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1"/>
          </p:nvPr>
        </p:nvSpPr>
        <p:spPr>
          <a:xfrm>
            <a:off x="-4762" y="0"/>
            <a:ext cx="4303712" cy="5145088"/>
          </a:xfrm>
          <a:custGeom>
            <a:avLst/>
            <a:gdLst>
              <a:gd name="connsiteX0" fmla="*/ 0 w 4298950"/>
              <a:gd name="connsiteY0" fmla="*/ 5145088 h 5145088"/>
              <a:gd name="connsiteX1" fmla="*/ 1074738 w 4298950"/>
              <a:gd name="connsiteY1" fmla="*/ 0 h 5145088"/>
              <a:gd name="connsiteX2" fmla="*/ 4298950 w 4298950"/>
              <a:gd name="connsiteY2" fmla="*/ 0 h 5145088"/>
              <a:gd name="connsiteX3" fmla="*/ 3224213 w 4298950"/>
              <a:gd name="connsiteY3" fmla="*/ 5145088 h 5145088"/>
              <a:gd name="connsiteX4" fmla="*/ 0 w 4298950"/>
              <a:gd name="connsiteY4" fmla="*/ 5145088 h 5145088"/>
              <a:gd name="connsiteX0" fmla="*/ 4762 w 4303712"/>
              <a:gd name="connsiteY0" fmla="*/ 5145088 h 5145088"/>
              <a:gd name="connsiteX1" fmla="*/ 0 w 4303712"/>
              <a:gd name="connsiteY1" fmla="*/ 0 h 5145088"/>
              <a:gd name="connsiteX2" fmla="*/ 4303712 w 4303712"/>
              <a:gd name="connsiteY2" fmla="*/ 0 h 5145088"/>
              <a:gd name="connsiteX3" fmla="*/ 3228975 w 4303712"/>
              <a:gd name="connsiteY3" fmla="*/ 5145088 h 5145088"/>
              <a:gd name="connsiteX4" fmla="*/ 4762 w 4303712"/>
              <a:gd name="connsiteY4" fmla="*/ 5145088 h 5145088"/>
              <a:gd name="connsiteX0" fmla="*/ 4762 w 4303712"/>
              <a:gd name="connsiteY0" fmla="*/ 5145088 h 5151438"/>
              <a:gd name="connsiteX1" fmla="*/ 0 w 4303712"/>
              <a:gd name="connsiteY1" fmla="*/ 0 h 5151438"/>
              <a:gd name="connsiteX2" fmla="*/ 4303712 w 4303712"/>
              <a:gd name="connsiteY2" fmla="*/ 0 h 5151438"/>
              <a:gd name="connsiteX3" fmla="*/ 2124075 w 4303712"/>
              <a:gd name="connsiteY3" fmla="*/ 5151438 h 5151438"/>
              <a:gd name="connsiteX4" fmla="*/ 4762 w 4303712"/>
              <a:gd name="connsiteY4" fmla="*/ 5145088 h 5151438"/>
              <a:gd name="connsiteX0" fmla="*/ 4762 w 4303712"/>
              <a:gd name="connsiteY0" fmla="*/ 5145088 h 5145088"/>
              <a:gd name="connsiteX1" fmla="*/ 0 w 4303712"/>
              <a:gd name="connsiteY1" fmla="*/ 0 h 5145088"/>
              <a:gd name="connsiteX2" fmla="*/ 4303712 w 4303712"/>
              <a:gd name="connsiteY2" fmla="*/ 0 h 5145088"/>
              <a:gd name="connsiteX3" fmla="*/ 2124075 w 4303712"/>
              <a:gd name="connsiteY3" fmla="*/ 5145088 h 5145088"/>
              <a:gd name="connsiteX4" fmla="*/ 4762 w 4303712"/>
              <a:gd name="connsiteY4" fmla="*/ 5145088 h 5145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03712" h="5145088">
                <a:moveTo>
                  <a:pt x="4762" y="5145088"/>
                </a:moveTo>
                <a:cubicBezTo>
                  <a:pt x="3175" y="3430059"/>
                  <a:pt x="1587" y="1715029"/>
                  <a:pt x="0" y="0"/>
                </a:cubicBezTo>
                <a:lnTo>
                  <a:pt x="4303712" y="0"/>
                </a:lnTo>
                <a:lnTo>
                  <a:pt x="2124075" y="5145088"/>
                </a:lnTo>
                <a:lnTo>
                  <a:pt x="4762" y="514508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4707038" y="1422400"/>
            <a:ext cx="3898800" cy="31781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707038" y="474380"/>
            <a:ext cx="3898800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591680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29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reis und Text links /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4707038" y="1422400"/>
            <a:ext cx="3898800" cy="317817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545866" y="2666428"/>
            <a:ext cx="2736000" cy="1932559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4"/>
          </p:nvPr>
        </p:nvSpPr>
        <p:spPr>
          <a:xfrm>
            <a:off x="545866" y="1422400"/>
            <a:ext cx="1044000" cy="1044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732863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2962">
          <p15:clr>
            <a:srgbClr val="FBAE40"/>
          </p15:clr>
        </p15:guide>
        <p15:guide id="3" pos="2065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reis und Text links /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45866" y="2666426"/>
            <a:ext cx="2736000" cy="1925837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3529013" y="1422400"/>
            <a:ext cx="5076825" cy="317182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4"/>
          </p:nvPr>
        </p:nvSpPr>
        <p:spPr>
          <a:xfrm>
            <a:off x="545866" y="1422400"/>
            <a:ext cx="1044000" cy="1044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75811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3">
          <p15:clr>
            <a:srgbClr val="FBAE40"/>
          </p15:clr>
        </p15:guide>
        <p15:guide id="2" orient="horz" pos="895">
          <p15:clr>
            <a:srgbClr val="FBAE40"/>
          </p15:clr>
        </p15:guide>
        <p15:guide id="3" pos="206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Pers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90716" y="864972"/>
            <a:ext cx="5315123" cy="37276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>
          <a:xfrm>
            <a:off x="3290716" y="1645355"/>
            <a:ext cx="5315122" cy="2953634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cxnSp>
        <p:nvCxnSpPr>
          <p:cNvPr id="15" name="Gerader Verbinder 14"/>
          <p:cNvCxnSpPr/>
          <p:nvPr userDrawn="1"/>
        </p:nvCxnSpPr>
        <p:spPr>
          <a:xfrm flipH="1">
            <a:off x="1857333" y="-117389"/>
            <a:ext cx="1550772" cy="3645243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074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65">
          <p15:clr>
            <a:srgbClr val="FBAE40"/>
          </p15:clr>
        </p15:guide>
        <p15:guide id="2" orient="horz" pos="781">
          <p15:clr>
            <a:srgbClr val="FBAE40"/>
          </p15:clr>
        </p15:guide>
        <p15:guide id="3" orient="horz" pos="103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Adress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/>
          </p:nvPr>
        </p:nvSpPr>
        <p:spPr>
          <a:xfrm>
            <a:off x="3290716" y="1642882"/>
            <a:ext cx="1800000" cy="2956106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5329238" y="1642882"/>
            <a:ext cx="1800000" cy="2956057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/>
          </p:nvPr>
        </p:nvSpPr>
        <p:spPr>
          <a:xfrm>
            <a:off x="923768" y="908220"/>
            <a:ext cx="1044000" cy="1044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cxnSp>
        <p:nvCxnSpPr>
          <p:cNvPr id="16" name="Gerader Verbinder 15"/>
          <p:cNvCxnSpPr/>
          <p:nvPr userDrawn="1"/>
        </p:nvCxnSpPr>
        <p:spPr>
          <a:xfrm flipH="1">
            <a:off x="1857333" y="-117389"/>
            <a:ext cx="1550772" cy="3645243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el 1"/>
          <p:cNvSpPr>
            <a:spLocks noGrp="1"/>
          </p:cNvSpPr>
          <p:nvPr>
            <p:ph type="title"/>
          </p:nvPr>
        </p:nvSpPr>
        <p:spPr>
          <a:xfrm>
            <a:off x="3290716" y="864972"/>
            <a:ext cx="5315123" cy="37276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1743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65">
          <p15:clr>
            <a:srgbClr val="FBAE40"/>
          </p15:clr>
        </p15:guide>
        <p15:guide id="2" orient="horz" pos="781">
          <p15:clr>
            <a:srgbClr val="FBAE40"/>
          </p15:clr>
        </p15:guide>
        <p15:guide id="3" pos="3210">
          <p15:clr>
            <a:srgbClr val="FBAE40"/>
          </p15:clr>
        </p15:guide>
        <p15:guide id="4" pos="3357">
          <p15:clr>
            <a:srgbClr val="FBAE40"/>
          </p15:clr>
        </p15:guide>
        <p15:guide id="5" orient="horz" pos="103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nderlogos-Übersicht Prä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rallelogramm 3"/>
          <p:cNvSpPr/>
          <p:nvPr userDrawn="1"/>
        </p:nvSpPr>
        <p:spPr>
          <a:xfrm>
            <a:off x="2768719" y="-7947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rgbClr val="EDEDE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5" name="Parallelogramm 3"/>
          <p:cNvSpPr/>
          <p:nvPr userDrawn="1"/>
        </p:nvSpPr>
        <p:spPr>
          <a:xfrm>
            <a:off x="4415964" y="-7948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rgbClr val="EDEDE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6" name="Parallelogramm 3"/>
          <p:cNvSpPr/>
          <p:nvPr userDrawn="1"/>
        </p:nvSpPr>
        <p:spPr>
          <a:xfrm>
            <a:off x="6063209" y="-7949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rgbClr val="EDEDE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7" name="Parallelogramm 3"/>
          <p:cNvSpPr/>
          <p:nvPr userDrawn="1"/>
        </p:nvSpPr>
        <p:spPr>
          <a:xfrm>
            <a:off x="1121474" y="-7950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chemeClr val="accent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8" name="Parallelogramm 3"/>
          <p:cNvSpPr/>
          <p:nvPr userDrawn="1"/>
        </p:nvSpPr>
        <p:spPr>
          <a:xfrm>
            <a:off x="-525771" y="-7953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rgbClr val="EDEDE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404424" y="2297926"/>
            <a:ext cx="1139452" cy="438832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0"/>
            <a:r>
              <a:rPr lang="de-DE" dirty="0"/>
              <a:t>Tex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9734738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con 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45866" y="536511"/>
            <a:ext cx="8064500" cy="150813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329361" y="479718"/>
            <a:ext cx="2119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0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3"/>
          </p:nvPr>
        </p:nvSpPr>
        <p:spPr>
          <a:xfrm>
            <a:off x="545866" y="895350"/>
            <a:ext cx="8064000" cy="370363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70798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8">
          <p15:clr>
            <a:srgbClr val="FBAE40"/>
          </p15:clr>
        </p15:guide>
        <p15:guide id="2" orient="horz" pos="56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 Tarif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2897296" y="1225576"/>
            <a:ext cx="5691188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cxnSp>
        <p:nvCxnSpPr>
          <p:cNvPr id="7" name="Gerader Verbinder 6"/>
          <p:cNvCxnSpPr/>
          <p:nvPr userDrawn="1"/>
        </p:nvCxnSpPr>
        <p:spPr>
          <a:xfrm flipH="1">
            <a:off x="873457" y="-191069"/>
            <a:ext cx="2367886" cy="557511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7539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8">
          <p15:clr>
            <a:srgbClr val="FBAE40"/>
          </p15:clr>
        </p15:guide>
        <p15:guide id="2" orient="horz" pos="82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51CC74-7277-408E-A1B6-10536502E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D8E39A6-4146-45B5-935E-BF4F490A187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5006136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nstiegsseite mit Bild link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1"/>
          </p:nvPr>
        </p:nvSpPr>
        <p:spPr>
          <a:xfrm>
            <a:off x="-6310" y="-17928"/>
            <a:ext cx="6494974" cy="5180947"/>
          </a:xfrm>
          <a:custGeom>
            <a:avLst/>
            <a:gdLst>
              <a:gd name="connsiteX0" fmla="*/ 0 w 6482687"/>
              <a:gd name="connsiteY0" fmla="*/ 5145089 h 5145089"/>
              <a:gd name="connsiteX1" fmla="*/ 1286272 w 6482687"/>
              <a:gd name="connsiteY1" fmla="*/ 0 h 5145089"/>
              <a:gd name="connsiteX2" fmla="*/ 6482687 w 6482687"/>
              <a:gd name="connsiteY2" fmla="*/ 0 h 5145089"/>
              <a:gd name="connsiteX3" fmla="*/ 5196415 w 6482687"/>
              <a:gd name="connsiteY3" fmla="*/ 5145089 h 5145089"/>
              <a:gd name="connsiteX4" fmla="*/ 0 w 6482687"/>
              <a:gd name="connsiteY4" fmla="*/ 5145089 h 5145089"/>
              <a:gd name="connsiteX0" fmla="*/ 0 w 6482687"/>
              <a:gd name="connsiteY0" fmla="*/ 5145089 h 5163018"/>
              <a:gd name="connsiteX1" fmla="*/ 1286272 w 6482687"/>
              <a:gd name="connsiteY1" fmla="*/ 0 h 5163018"/>
              <a:gd name="connsiteX2" fmla="*/ 6482687 w 6482687"/>
              <a:gd name="connsiteY2" fmla="*/ 0 h 5163018"/>
              <a:gd name="connsiteX3" fmla="*/ 4299945 w 6482687"/>
              <a:gd name="connsiteY3" fmla="*/ 5163018 h 5163018"/>
              <a:gd name="connsiteX4" fmla="*/ 0 w 6482687"/>
              <a:gd name="connsiteY4" fmla="*/ 5145089 h 5163018"/>
              <a:gd name="connsiteX0" fmla="*/ 4645 w 6487332"/>
              <a:gd name="connsiteY0" fmla="*/ 5145089 h 5163018"/>
              <a:gd name="connsiteX1" fmla="*/ 0 w 6487332"/>
              <a:gd name="connsiteY1" fmla="*/ 5976 h 5163018"/>
              <a:gd name="connsiteX2" fmla="*/ 6487332 w 6487332"/>
              <a:gd name="connsiteY2" fmla="*/ 0 h 5163018"/>
              <a:gd name="connsiteX3" fmla="*/ 4304590 w 6487332"/>
              <a:gd name="connsiteY3" fmla="*/ 5163018 h 5163018"/>
              <a:gd name="connsiteX4" fmla="*/ 4645 w 6487332"/>
              <a:gd name="connsiteY4" fmla="*/ 5145089 h 5163018"/>
              <a:gd name="connsiteX0" fmla="*/ 4645 w 6487332"/>
              <a:gd name="connsiteY0" fmla="*/ 5145089 h 5163018"/>
              <a:gd name="connsiteX1" fmla="*/ 0 w 6487332"/>
              <a:gd name="connsiteY1" fmla="*/ 5976 h 5163018"/>
              <a:gd name="connsiteX2" fmla="*/ 6487332 w 6487332"/>
              <a:gd name="connsiteY2" fmla="*/ 0 h 5163018"/>
              <a:gd name="connsiteX3" fmla="*/ 4304590 w 6487332"/>
              <a:gd name="connsiteY3" fmla="*/ 5163018 h 5163018"/>
              <a:gd name="connsiteX4" fmla="*/ 4645 w 6487332"/>
              <a:gd name="connsiteY4" fmla="*/ 5145089 h 5163018"/>
              <a:gd name="connsiteX0" fmla="*/ 333 w 6488997"/>
              <a:gd name="connsiteY0" fmla="*/ 5174971 h 5174971"/>
              <a:gd name="connsiteX1" fmla="*/ 1665 w 6488997"/>
              <a:gd name="connsiteY1" fmla="*/ 5976 h 5174971"/>
              <a:gd name="connsiteX2" fmla="*/ 6488997 w 6488997"/>
              <a:gd name="connsiteY2" fmla="*/ 0 h 5174971"/>
              <a:gd name="connsiteX3" fmla="*/ 4306255 w 6488997"/>
              <a:gd name="connsiteY3" fmla="*/ 5163018 h 5174971"/>
              <a:gd name="connsiteX4" fmla="*/ 333 w 6488997"/>
              <a:gd name="connsiteY4" fmla="*/ 5174971 h 5174971"/>
              <a:gd name="connsiteX0" fmla="*/ 333 w 6488997"/>
              <a:gd name="connsiteY0" fmla="*/ 5174971 h 5174971"/>
              <a:gd name="connsiteX1" fmla="*/ 1665 w 6488997"/>
              <a:gd name="connsiteY1" fmla="*/ 5976 h 5174971"/>
              <a:gd name="connsiteX2" fmla="*/ 6488997 w 6488997"/>
              <a:gd name="connsiteY2" fmla="*/ 0 h 5174971"/>
              <a:gd name="connsiteX3" fmla="*/ 4300279 w 6488997"/>
              <a:gd name="connsiteY3" fmla="*/ 5174971 h 5174971"/>
              <a:gd name="connsiteX4" fmla="*/ 333 w 6488997"/>
              <a:gd name="connsiteY4" fmla="*/ 5174971 h 5174971"/>
              <a:gd name="connsiteX0" fmla="*/ 333 w 6488997"/>
              <a:gd name="connsiteY0" fmla="*/ 5174971 h 5174971"/>
              <a:gd name="connsiteX1" fmla="*/ 1665 w 6488997"/>
              <a:gd name="connsiteY1" fmla="*/ 5976 h 5174971"/>
              <a:gd name="connsiteX2" fmla="*/ 6488997 w 6488997"/>
              <a:gd name="connsiteY2" fmla="*/ 0 h 5174971"/>
              <a:gd name="connsiteX3" fmla="*/ 4300279 w 6488997"/>
              <a:gd name="connsiteY3" fmla="*/ 5174971 h 5174971"/>
              <a:gd name="connsiteX4" fmla="*/ 333 w 6488997"/>
              <a:gd name="connsiteY4" fmla="*/ 5174971 h 5174971"/>
              <a:gd name="connsiteX0" fmla="*/ 333 w 6494974"/>
              <a:gd name="connsiteY0" fmla="*/ 5180947 h 5180947"/>
              <a:gd name="connsiteX1" fmla="*/ 1665 w 6494974"/>
              <a:gd name="connsiteY1" fmla="*/ 11952 h 5180947"/>
              <a:gd name="connsiteX2" fmla="*/ 6494974 w 6494974"/>
              <a:gd name="connsiteY2" fmla="*/ 0 h 5180947"/>
              <a:gd name="connsiteX3" fmla="*/ 4300279 w 6494974"/>
              <a:gd name="connsiteY3" fmla="*/ 5180947 h 5180947"/>
              <a:gd name="connsiteX4" fmla="*/ 333 w 6494974"/>
              <a:gd name="connsiteY4" fmla="*/ 5180947 h 5180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94974" h="5180947">
                <a:moveTo>
                  <a:pt x="333" y="5180947"/>
                </a:moveTo>
                <a:cubicBezTo>
                  <a:pt x="-1215" y="3467909"/>
                  <a:pt x="3213" y="1724990"/>
                  <a:pt x="1665" y="11952"/>
                </a:cubicBezTo>
                <a:lnTo>
                  <a:pt x="6494974" y="0"/>
                </a:lnTo>
                <a:lnTo>
                  <a:pt x="4300279" y="5180947"/>
                </a:lnTo>
                <a:lnTo>
                  <a:pt x="333" y="5180947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35812" y="2434664"/>
            <a:ext cx="2964050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635812" y="3221050"/>
            <a:ext cx="2964049" cy="1377937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1106199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6">
          <p15:clr>
            <a:srgbClr val="FBAE40"/>
          </p15:clr>
        </p15:guide>
        <p15:guide id="2" orient="horz" pos="158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Bild link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545866" y="1422400"/>
            <a:ext cx="5092700" cy="317817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/>
          </p:nvPr>
        </p:nvSpPr>
        <p:spPr>
          <a:xfrm>
            <a:off x="5868988" y="1422400"/>
            <a:ext cx="2736850" cy="317817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221824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49">
          <p15:clr>
            <a:srgbClr val="FBAE40"/>
          </p15:clr>
        </p15:guide>
        <p15:guide id="2" pos="3693">
          <p15:clr>
            <a:srgbClr val="FBAE40"/>
          </p15:clr>
        </p15:guide>
        <p15:guide id="3" orient="horz" pos="89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Bild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3"/>
          </p:nvPr>
        </p:nvSpPr>
        <p:spPr>
          <a:xfrm>
            <a:off x="3516313" y="1422400"/>
            <a:ext cx="5089525" cy="3179763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  <a:custGeom>
            <a:avLst/>
            <a:gdLst>
              <a:gd name="connsiteX0" fmla="*/ 0 w 462372"/>
              <a:gd name="connsiteY0" fmla="*/ 325897 h 325897"/>
              <a:gd name="connsiteX1" fmla="*/ 81474 w 462372"/>
              <a:gd name="connsiteY1" fmla="*/ 0 h 325897"/>
              <a:gd name="connsiteX2" fmla="*/ 462372 w 462372"/>
              <a:gd name="connsiteY2" fmla="*/ 0 h 325897"/>
              <a:gd name="connsiteX3" fmla="*/ 380898 w 462372"/>
              <a:gd name="connsiteY3" fmla="*/ 325897 h 325897"/>
              <a:gd name="connsiteX4" fmla="*/ 0 w 462372"/>
              <a:gd name="connsiteY4" fmla="*/ 325897 h 325897"/>
              <a:gd name="connsiteX0" fmla="*/ 0 w 1273741"/>
              <a:gd name="connsiteY0" fmla="*/ 328472 h 328472"/>
              <a:gd name="connsiteX1" fmla="*/ 81474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28472"/>
              <a:gd name="connsiteX1" fmla="*/ 743448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31048"/>
              <a:gd name="connsiteX1" fmla="*/ 743448 w 1273741"/>
              <a:gd name="connsiteY1" fmla="*/ 2575 h 331048"/>
              <a:gd name="connsiteX2" fmla="*/ 1273741 w 1273741"/>
              <a:gd name="connsiteY2" fmla="*/ 0 h 331048"/>
              <a:gd name="connsiteX3" fmla="*/ 1127872 w 1273741"/>
              <a:gd name="connsiteY3" fmla="*/ 331048 h 331048"/>
              <a:gd name="connsiteX4" fmla="*/ 0 w 1273741"/>
              <a:gd name="connsiteY4" fmla="*/ 328472 h 331048"/>
              <a:gd name="connsiteX0" fmla="*/ 0 w 640100"/>
              <a:gd name="connsiteY0" fmla="*/ 328472 h 331048"/>
              <a:gd name="connsiteX1" fmla="*/ 109807 w 640100"/>
              <a:gd name="connsiteY1" fmla="*/ 2575 h 331048"/>
              <a:gd name="connsiteX2" fmla="*/ 640100 w 640100"/>
              <a:gd name="connsiteY2" fmla="*/ 0 h 331048"/>
              <a:gd name="connsiteX3" fmla="*/ 494231 w 640100"/>
              <a:gd name="connsiteY3" fmla="*/ 331048 h 331048"/>
              <a:gd name="connsiteX4" fmla="*/ 0 w 640100"/>
              <a:gd name="connsiteY4" fmla="*/ 328472 h 331048"/>
              <a:gd name="connsiteX0" fmla="*/ 0 w 640100"/>
              <a:gd name="connsiteY0" fmla="*/ 336200 h 338776"/>
              <a:gd name="connsiteX1" fmla="*/ 375112 w 640100"/>
              <a:gd name="connsiteY1" fmla="*/ 0 h 338776"/>
              <a:gd name="connsiteX2" fmla="*/ 640100 w 640100"/>
              <a:gd name="connsiteY2" fmla="*/ 7728 h 338776"/>
              <a:gd name="connsiteX3" fmla="*/ 494231 w 640100"/>
              <a:gd name="connsiteY3" fmla="*/ 338776 h 338776"/>
              <a:gd name="connsiteX4" fmla="*/ 0 w 640100"/>
              <a:gd name="connsiteY4" fmla="*/ 336200 h 338776"/>
              <a:gd name="connsiteX0" fmla="*/ 0 w 640100"/>
              <a:gd name="connsiteY0" fmla="*/ 331049 h 333625"/>
              <a:gd name="connsiteX1" fmla="*/ 248899 w 640100"/>
              <a:gd name="connsiteY1" fmla="*/ 0 h 333625"/>
              <a:gd name="connsiteX2" fmla="*/ 640100 w 640100"/>
              <a:gd name="connsiteY2" fmla="*/ 2577 h 333625"/>
              <a:gd name="connsiteX3" fmla="*/ 494231 w 640100"/>
              <a:gd name="connsiteY3" fmla="*/ 333625 h 333625"/>
              <a:gd name="connsiteX4" fmla="*/ 0 w 640100"/>
              <a:gd name="connsiteY4" fmla="*/ 331049 h 333625"/>
              <a:gd name="connsiteX0" fmla="*/ 0 w 537069"/>
              <a:gd name="connsiteY0" fmla="*/ 336200 h 336200"/>
              <a:gd name="connsiteX1" fmla="*/ 145868 w 537069"/>
              <a:gd name="connsiteY1" fmla="*/ 0 h 336200"/>
              <a:gd name="connsiteX2" fmla="*/ 537069 w 537069"/>
              <a:gd name="connsiteY2" fmla="*/ 2577 h 336200"/>
              <a:gd name="connsiteX3" fmla="*/ 391200 w 537069"/>
              <a:gd name="connsiteY3" fmla="*/ 333625 h 336200"/>
              <a:gd name="connsiteX4" fmla="*/ 0 w 537069"/>
              <a:gd name="connsiteY4" fmla="*/ 336200 h 336200"/>
              <a:gd name="connsiteX0" fmla="*/ 0 w 537069"/>
              <a:gd name="connsiteY0" fmla="*/ 336200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6200 h 338776"/>
              <a:gd name="connsiteX0" fmla="*/ 0 w 537069"/>
              <a:gd name="connsiteY0" fmla="*/ 338776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8776 h 338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7069" h="338776">
                <a:moveTo>
                  <a:pt x="0" y="338776"/>
                </a:moveTo>
                <a:lnTo>
                  <a:pt x="145868" y="0"/>
                </a:lnTo>
                <a:lnTo>
                  <a:pt x="537069" y="2577"/>
                </a:lnTo>
                <a:lnTo>
                  <a:pt x="393776" y="338776"/>
                </a:lnTo>
                <a:lnTo>
                  <a:pt x="0" y="338776"/>
                </a:lnTo>
                <a:close/>
              </a:path>
            </a:pathLst>
          </a:custGeo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>
          <a:xfrm>
            <a:off x="545866" y="1422400"/>
            <a:ext cx="27360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761009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71">
          <p15:clr>
            <a:srgbClr val="FBAE40"/>
          </p15:clr>
        </p15:guide>
        <p15:guide id="2" pos="2215">
          <p15:clr>
            <a:srgbClr val="FBAE40"/>
          </p15:clr>
        </p15:guide>
        <p15:guide id="3" orient="horz" pos="89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nstiegsseite mit Bild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2"/>
          </p:nvPr>
        </p:nvSpPr>
        <p:spPr>
          <a:xfrm>
            <a:off x="2886501" y="0"/>
            <a:ext cx="6264115" cy="5151912"/>
          </a:xfrm>
          <a:custGeom>
            <a:avLst/>
            <a:gdLst>
              <a:gd name="connsiteX0" fmla="*/ 0 w 6260674"/>
              <a:gd name="connsiteY0" fmla="*/ 5145088 h 5145088"/>
              <a:gd name="connsiteX1" fmla="*/ 1286272 w 6260674"/>
              <a:gd name="connsiteY1" fmla="*/ 0 h 5145088"/>
              <a:gd name="connsiteX2" fmla="*/ 6260674 w 6260674"/>
              <a:gd name="connsiteY2" fmla="*/ 0 h 5145088"/>
              <a:gd name="connsiteX3" fmla="*/ 4974402 w 6260674"/>
              <a:gd name="connsiteY3" fmla="*/ 5145088 h 5145088"/>
              <a:gd name="connsiteX4" fmla="*/ 0 w 6260674"/>
              <a:gd name="connsiteY4" fmla="*/ 5145088 h 5145088"/>
              <a:gd name="connsiteX0" fmla="*/ 0 w 6260674"/>
              <a:gd name="connsiteY0" fmla="*/ 5145088 h 5145088"/>
              <a:gd name="connsiteX1" fmla="*/ 2180200 w 6260674"/>
              <a:gd name="connsiteY1" fmla="*/ 0 h 5145088"/>
              <a:gd name="connsiteX2" fmla="*/ 6260674 w 6260674"/>
              <a:gd name="connsiteY2" fmla="*/ 0 h 5145088"/>
              <a:gd name="connsiteX3" fmla="*/ 4974402 w 6260674"/>
              <a:gd name="connsiteY3" fmla="*/ 5145088 h 5145088"/>
              <a:gd name="connsiteX4" fmla="*/ 0 w 6260674"/>
              <a:gd name="connsiteY4" fmla="*/ 5145088 h 5145088"/>
              <a:gd name="connsiteX0" fmla="*/ 0 w 6264115"/>
              <a:gd name="connsiteY0" fmla="*/ 5145088 h 5151912"/>
              <a:gd name="connsiteX1" fmla="*/ 2180200 w 6264115"/>
              <a:gd name="connsiteY1" fmla="*/ 0 h 5151912"/>
              <a:gd name="connsiteX2" fmla="*/ 6260674 w 6264115"/>
              <a:gd name="connsiteY2" fmla="*/ 0 h 5151912"/>
              <a:gd name="connsiteX3" fmla="*/ 6264115 w 6264115"/>
              <a:gd name="connsiteY3" fmla="*/ 5151912 h 5151912"/>
              <a:gd name="connsiteX4" fmla="*/ 0 w 6264115"/>
              <a:gd name="connsiteY4" fmla="*/ 5145088 h 5151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64115" h="5151912">
                <a:moveTo>
                  <a:pt x="0" y="5145088"/>
                </a:moveTo>
                <a:lnTo>
                  <a:pt x="2180200" y="0"/>
                </a:lnTo>
                <a:lnTo>
                  <a:pt x="6260674" y="0"/>
                </a:lnTo>
                <a:lnTo>
                  <a:pt x="6264115" y="5151912"/>
                </a:lnTo>
                <a:lnTo>
                  <a:pt x="0" y="514508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" name="Textfeld 5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>
          <a:xfrm>
            <a:off x="545866" y="1422400"/>
            <a:ext cx="2652712" cy="317741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759304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ressionen 5 Bil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4"/>
          <p:cNvSpPr>
            <a:spLocks noGrp="1"/>
          </p:cNvSpPr>
          <p:nvPr>
            <p:ph type="pic" sz="quarter" idx="18"/>
          </p:nvPr>
        </p:nvSpPr>
        <p:spPr>
          <a:xfrm>
            <a:off x="4136643" y="-36438"/>
            <a:ext cx="5055406" cy="1998209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994072 h 1994072"/>
              <a:gd name="connsiteX1" fmla="*/ 842568 w 4105148"/>
              <a:gd name="connsiteY1" fmla="*/ 0 h 1994072"/>
              <a:gd name="connsiteX2" fmla="*/ 4105148 w 4105148"/>
              <a:gd name="connsiteY2" fmla="*/ 382494 h 1994072"/>
              <a:gd name="connsiteX3" fmla="*/ 3426473 w 4105148"/>
              <a:gd name="connsiteY3" fmla="*/ 1992233 h 1994072"/>
              <a:gd name="connsiteX4" fmla="*/ 0 w 4105148"/>
              <a:gd name="connsiteY4" fmla="*/ 1994072 h 1994072"/>
              <a:gd name="connsiteX0" fmla="*/ 0 w 5031501"/>
              <a:gd name="connsiteY0" fmla="*/ 2000048 h 2000048"/>
              <a:gd name="connsiteX1" fmla="*/ 842568 w 5031501"/>
              <a:gd name="connsiteY1" fmla="*/ 5976 h 2000048"/>
              <a:gd name="connsiteX2" fmla="*/ 5031501 w 5031501"/>
              <a:gd name="connsiteY2" fmla="*/ 0 h 2000048"/>
              <a:gd name="connsiteX3" fmla="*/ 3426473 w 5031501"/>
              <a:gd name="connsiteY3" fmla="*/ 1998209 h 2000048"/>
              <a:gd name="connsiteX4" fmla="*/ 0 w 5031501"/>
              <a:gd name="connsiteY4" fmla="*/ 2000048 h 2000048"/>
              <a:gd name="connsiteX0" fmla="*/ 0 w 5115859"/>
              <a:gd name="connsiteY0" fmla="*/ 2000048 h 2004185"/>
              <a:gd name="connsiteX1" fmla="*/ 842568 w 5115859"/>
              <a:gd name="connsiteY1" fmla="*/ 5976 h 2004185"/>
              <a:gd name="connsiteX2" fmla="*/ 5031501 w 5115859"/>
              <a:gd name="connsiteY2" fmla="*/ 0 h 2004185"/>
              <a:gd name="connsiteX3" fmla="*/ 5052073 w 5115859"/>
              <a:gd name="connsiteY3" fmla="*/ 2004185 h 2004185"/>
              <a:gd name="connsiteX4" fmla="*/ 0 w 5115859"/>
              <a:gd name="connsiteY4" fmla="*/ 2000048 h 2004185"/>
              <a:gd name="connsiteX0" fmla="*/ 0 w 5147620"/>
              <a:gd name="connsiteY0" fmla="*/ 2000048 h 2004185"/>
              <a:gd name="connsiteX1" fmla="*/ 842568 w 5147620"/>
              <a:gd name="connsiteY1" fmla="*/ 5976 h 2004185"/>
              <a:gd name="connsiteX2" fmla="*/ 5031501 w 5147620"/>
              <a:gd name="connsiteY2" fmla="*/ 0 h 2004185"/>
              <a:gd name="connsiteX3" fmla="*/ 5052073 w 5147620"/>
              <a:gd name="connsiteY3" fmla="*/ 2004185 h 2004185"/>
              <a:gd name="connsiteX4" fmla="*/ 0 w 5147620"/>
              <a:gd name="connsiteY4" fmla="*/ 2000048 h 2004185"/>
              <a:gd name="connsiteX0" fmla="*/ 0 w 5158413"/>
              <a:gd name="connsiteY0" fmla="*/ 1994072 h 1998209"/>
              <a:gd name="connsiteX1" fmla="*/ 842568 w 5158413"/>
              <a:gd name="connsiteY1" fmla="*/ 0 h 1998209"/>
              <a:gd name="connsiteX2" fmla="*/ 5073336 w 5158413"/>
              <a:gd name="connsiteY2" fmla="*/ 0 h 1998209"/>
              <a:gd name="connsiteX3" fmla="*/ 5052073 w 5158413"/>
              <a:gd name="connsiteY3" fmla="*/ 1998209 h 1998209"/>
              <a:gd name="connsiteX4" fmla="*/ 0 w 5158413"/>
              <a:gd name="connsiteY4" fmla="*/ 1994072 h 1998209"/>
              <a:gd name="connsiteX0" fmla="*/ 0 w 5073336"/>
              <a:gd name="connsiteY0" fmla="*/ 1994072 h 1998209"/>
              <a:gd name="connsiteX1" fmla="*/ 842568 w 5073336"/>
              <a:gd name="connsiteY1" fmla="*/ 0 h 1998209"/>
              <a:gd name="connsiteX2" fmla="*/ 5073336 w 5073336"/>
              <a:gd name="connsiteY2" fmla="*/ 0 h 1998209"/>
              <a:gd name="connsiteX3" fmla="*/ 5052073 w 5073336"/>
              <a:gd name="connsiteY3" fmla="*/ 1998209 h 1998209"/>
              <a:gd name="connsiteX4" fmla="*/ 0 w 5073336"/>
              <a:gd name="connsiteY4" fmla="*/ 1994072 h 1998209"/>
              <a:gd name="connsiteX0" fmla="*/ 0 w 5067359"/>
              <a:gd name="connsiteY0" fmla="*/ 1994072 h 1998209"/>
              <a:gd name="connsiteX1" fmla="*/ 842568 w 5067359"/>
              <a:gd name="connsiteY1" fmla="*/ 0 h 1998209"/>
              <a:gd name="connsiteX2" fmla="*/ 5067359 w 5067359"/>
              <a:gd name="connsiteY2" fmla="*/ 0 h 1998209"/>
              <a:gd name="connsiteX3" fmla="*/ 5052073 w 5067359"/>
              <a:gd name="connsiteY3" fmla="*/ 1998209 h 1998209"/>
              <a:gd name="connsiteX4" fmla="*/ 0 w 5067359"/>
              <a:gd name="connsiteY4" fmla="*/ 1994072 h 1998209"/>
              <a:gd name="connsiteX0" fmla="*/ 0 w 5067359"/>
              <a:gd name="connsiteY0" fmla="*/ 1994072 h 1998209"/>
              <a:gd name="connsiteX1" fmla="*/ 842568 w 5067359"/>
              <a:gd name="connsiteY1" fmla="*/ 0 h 1998209"/>
              <a:gd name="connsiteX2" fmla="*/ 5067359 w 5067359"/>
              <a:gd name="connsiteY2" fmla="*/ 0 h 1998209"/>
              <a:gd name="connsiteX3" fmla="*/ 5052073 w 5067359"/>
              <a:gd name="connsiteY3" fmla="*/ 1998209 h 1998209"/>
              <a:gd name="connsiteX4" fmla="*/ 0 w 5067359"/>
              <a:gd name="connsiteY4" fmla="*/ 1994072 h 1998209"/>
              <a:gd name="connsiteX0" fmla="*/ 0 w 5055406"/>
              <a:gd name="connsiteY0" fmla="*/ 1994072 h 1998209"/>
              <a:gd name="connsiteX1" fmla="*/ 842568 w 5055406"/>
              <a:gd name="connsiteY1" fmla="*/ 0 h 1998209"/>
              <a:gd name="connsiteX2" fmla="*/ 5055406 w 5055406"/>
              <a:gd name="connsiteY2" fmla="*/ 5977 h 1998209"/>
              <a:gd name="connsiteX3" fmla="*/ 5052073 w 5055406"/>
              <a:gd name="connsiteY3" fmla="*/ 1998209 h 1998209"/>
              <a:gd name="connsiteX4" fmla="*/ 0 w 5055406"/>
              <a:gd name="connsiteY4" fmla="*/ 1994072 h 1998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5406" h="1998209">
                <a:moveTo>
                  <a:pt x="0" y="1994072"/>
                </a:moveTo>
                <a:cubicBezTo>
                  <a:pt x="673157" y="387475"/>
                  <a:pt x="849349" y="536"/>
                  <a:pt x="842568" y="0"/>
                </a:cubicBezTo>
                <a:lnTo>
                  <a:pt x="5055406" y="5977"/>
                </a:lnTo>
                <a:cubicBezTo>
                  <a:pt x="5052916" y="565466"/>
                  <a:pt x="5058470" y="1448374"/>
                  <a:pt x="5052073" y="1998209"/>
                </a:cubicBezTo>
                <a:lnTo>
                  <a:pt x="0" y="1994072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-42291" y="1290825"/>
            <a:ext cx="4416636" cy="3914494"/>
          </a:xfrm>
          <a:custGeom>
            <a:avLst/>
            <a:gdLst>
              <a:gd name="connsiteX0" fmla="*/ 0 w 4394200"/>
              <a:gd name="connsiteY0" fmla="*/ 2970212 h 2970212"/>
              <a:gd name="connsiteX1" fmla="*/ 742553 w 4394200"/>
              <a:gd name="connsiteY1" fmla="*/ 0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8341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324200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2364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699000"/>
              <a:gd name="connsiteY0" fmla="*/ 2970212 h 2970212"/>
              <a:gd name="connsiteX1" fmla="*/ 282364 w 4699000"/>
              <a:gd name="connsiteY1" fmla="*/ 5976 h 2970212"/>
              <a:gd name="connsiteX2" fmla="*/ 4699000 w 4699000"/>
              <a:gd name="connsiteY2" fmla="*/ 0 h 2970212"/>
              <a:gd name="connsiteX3" fmla="*/ 3651647 w 4699000"/>
              <a:gd name="connsiteY3" fmla="*/ 2970212 h 2970212"/>
              <a:gd name="connsiteX4" fmla="*/ 0 w 4699000"/>
              <a:gd name="connsiteY4" fmla="*/ 2970212 h 2970212"/>
              <a:gd name="connsiteX0" fmla="*/ 0 w 4699000"/>
              <a:gd name="connsiteY0" fmla="*/ 2970212 h 3998165"/>
              <a:gd name="connsiteX1" fmla="*/ 282364 w 4699000"/>
              <a:gd name="connsiteY1" fmla="*/ 5976 h 3998165"/>
              <a:gd name="connsiteX2" fmla="*/ 4699000 w 4699000"/>
              <a:gd name="connsiteY2" fmla="*/ 0 h 3998165"/>
              <a:gd name="connsiteX3" fmla="*/ 3006188 w 4699000"/>
              <a:gd name="connsiteY3" fmla="*/ 3998165 h 3998165"/>
              <a:gd name="connsiteX4" fmla="*/ 0 w 4699000"/>
              <a:gd name="connsiteY4" fmla="*/ 2970212 h 3998165"/>
              <a:gd name="connsiteX0" fmla="*/ 10483 w 4416636"/>
              <a:gd name="connsiteY0" fmla="*/ 3872659 h 3998165"/>
              <a:gd name="connsiteX1" fmla="*/ 0 w 4416636"/>
              <a:gd name="connsiteY1" fmla="*/ 5976 h 3998165"/>
              <a:gd name="connsiteX2" fmla="*/ 4416636 w 4416636"/>
              <a:gd name="connsiteY2" fmla="*/ 0 h 3998165"/>
              <a:gd name="connsiteX3" fmla="*/ 2723824 w 4416636"/>
              <a:gd name="connsiteY3" fmla="*/ 3998165 h 3998165"/>
              <a:gd name="connsiteX4" fmla="*/ 10483 w 4416636"/>
              <a:gd name="connsiteY4" fmla="*/ 3872659 h 3998165"/>
              <a:gd name="connsiteX0" fmla="*/ 10483 w 4416636"/>
              <a:gd name="connsiteY0" fmla="*/ 3872659 h 3890588"/>
              <a:gd name="connsiteX1" fmla="*/ 0 w 4416636"/>
              <a:gd name="connsiteY1" fmla="*/ 5976 h 3890588"/>
              <a:gd name="connsiteX2" fmla="*/ 4416636 w 4416636"/>
              <a:gd name="connsiteY2" fmla="*/ 0 h 3890588"/>
              <a:gd name="connsiteX3" fmla="*/ 2777613 w 4416636"/>
              <a:gd name="connsiteY3" fmla="*/ 3890588 h 3890588"/>
              <a:gd name="connsiteX4" fmla="*/ 10483 w 4416636"/>
              <a:gd name="connsiteY4" fmla="*/ 3872659 h 3890588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77613 w 4416636"/>
              <a:gd name="connsiteY3" fmla="*/ 3890588 h 3914494"/>
              <a:gd name="connsiteX4" fmla="*/ 10483 w 4416636"/>
              <a:gd name="connsiteY4" fmla="*/ 3914494 h 3914494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64734 w 4416636"/>
              <a:gd name="connsiteY3" fmla="*/ 3897027 h 3914494"/>
              <a:gd name="connsiteX4" fmla="*/ 10483 w 4416636"/>
              <a:gd name="connsiteY4" fmla="*/ 3914494 h 3914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16636" h="3914494">
                <a:moveTo>
                  <a:pt x="10483" y="3914494"/>
                </a:moveTo>
                <a:cubicBezTo>
                  <a:pt x="6989" y="2625600"/>
                  <a:pt x="3494" y="1294870"/>
                  <a:pt x="0" y="5976"/>
                </a:cubicBezTo>
                <a:lnTo>
                  <a:pt x="4416636" y="0"/>
                </a:lnTo>
                <a:lnTo>
                  <a:pt x="2764734" y="3897027"/>
                </a:lnTo>
                <a:lnTo>
                  <a:pt x="10483" y="3914494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5"/>
          </p:nvPr>
        </p:nvSpPr>
        <p:spPr>
          <a:xfrm>
            <a:off x="3434408" y="1998210"/>
            <a:ext cx="4105148" cy="1611578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05148" h="1611578">
                <a:moveTo>
                  <a:pt x="0" y="1611578"/>
                </a:moveTo>
                <a:cubicBezTo>
                  <a:pt x="673157" y="4981"/>
                  <a:pt x="682008" y="536"/>
                  <a:pt x="675227" y="0"/>
                </a:cubicBezTo>
                <a:lnTo>
                  <a:pt x="4105148" y="0"/>
                </a:lnTo>
                <a:cubicBezTo>
                  <a:pt x="3881529" y="553512"/>
                  <a:pt x="3654000" y="1071857"/>
                  <a:pt x="3426473" y="1609739"/>
                </a:cubicBezTo>
                <a:lnTo>
                  <a:pt x="0" y="161157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7" name="Bildplatzhalter 4"/>
          <p:cNvSpPr>
            <a:spLocks noGrp="1"/>
          </p:cNvSpPr>
          <p:nvPr>
            <p:ph type="pic" sz="quarter" idx="16"/>
          </p:nvPr>
        </p:nvSpPr>
        <p:spPr>
          <a:xfrm>
            <a:off x="2768979" y="3650770"/>
            <a:ext cx="4071101" cy="1534149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60520 w 4105148"/>
              <a:gd name="connsiteY3" fmla="*/ 1531918 h 1611578"/>
              <a:gd name="connsiteX4" fmla="*/ 0 w 4105148"/>
              <a:gd name="connsiteY4" fmla="*/ 1611578 h 1611578"/>
              <a:gd name="connsiteX0" fmla="*/ 0 w 4080829"/>
              <a:gd name="connsiteY0" fmla="*/ 1548521 h 1548521"/>
              <a:gd name="connsiteX1" fmla="*/ 650908 w 4080829"/>
              <a:gd name="connsiteY1" fmla="*/ 173 h 1548521"/>
              <a:gd name="connsiteX2" fmla="*/ 4080829 w 4080829"/>
              <a:gd name="connsiteY2" fmla="*/ 173 h 1548521"/>
              <a:gd name="connsiteX3" fmla="*/ 3436201 w 4080829"/>
              <a:gd name="connsiteY3" fmla="*/ 1532091 h 1548521"/>
              <a:gd name="connsiteX4" fmla="*/ 0 w 4080829"/>
              <a:gd name="connsiteY4" fmla="*/ 1548521 h 1548521"/>
              <a:gd name="connsiteX0" fmla="*/ 0 w 4071101"/>
              <a:gd name="connsiteY0" fmla="*/ 1534149 h 1534149"/>
              <a:gd name="connsiteX1" fmla="*/ 641180 w 4071101"/>
              <a:gd name="connsiteY1" fmla="*/ 392 h 1534149"/>
              <a:gd name="connsiteX2" fmla="*/ 4071101 w 4071101"/>
              <a:gd name="connsiteY2" fmla="*/ 392 h 1534149"/>
              <a:gd name="connsiteX3" fmla="*/ 3426473 w 4071101"/>
              <a:gd name="connsiteY3" fmla="*/ 1532310 h 1534149"/>
              <a:gd name="connsiteX4" fmla="*/ 0 w 4071101"/>
              <a:gd name="connsiteY4" fmla="*/ 1534149 h 1534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71101" h="1534149">
                <a:moveTo>
                  <a:pt x="0" y="1534149"/>
                </a:moveTo>
                <a:cubicBezTo>
                  <a:pt x="673157" y="-72448"/>
                  <a:pt x="647961" y="928"/>
                  <a:pt x="641180" y="392"/>
                </a:cubicBezTo>
                <a:lnTo>
                  <a:pt x="4071101" y="392"/>
                </a:lnTo>
                <a:cubicBezTo>
                  <a:pt x="3847482" y="553904"/>
                  <a:pt x="3654000" y="994428"/>
                  <a:pt x="3426473" y="1532310"/>
                </a:cubicBezTo>
                <a:lnTo>
                  <a:pt x="0" y="1534149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7"/>
          </p:nvPr>
        </p:nvSpPr>
        <p:spPr>
          <a:xfrm>
            <a:off x="6252385" y="1998210"/>
            <a:ext cx="2904166" cy="3159758"/>
          </a:xfrm>
          <a:custGeom>
            <a:avLst/>
            <a:gdLst>
              <a:gd name="connsiteX0" fmla="*/ 0 w 2881603"/>
              <a:gd name="connsiteY0" fmla="*/ 3146878 h 3146878"/>
              <a:gd name="connsiteX1" fmla="*/ 720401 w 2881603"/>
              <a:gd name="connsiteY1" fmla="*/ 0 h 3146878"/>
              <a:gd name="connsiteX2" fmla="*/ 2881603 w 2881603"/>
              <a:gd name="connsiteY2" fmla="*/ 0 h 3146878"/>
              <a:gd name="connsiteX3" fmla="*/ 2161202 w 2881603"/>
              <a:gd name="connsiteY3" fmla="*/ 3146878 h 3146878"/>
              <a:gd name="connsiteX4" fmla="*/ 0 w 2881603"/>
              <a:gd name="connsiteY4" fmla="*/ 3146878 h 3146878"/>
              <a:gd name="connsiteX0" fmla="*/ 0 w 2901737"/>
              <a:gd name="connsiteY0" fmla="*/ 3146878 h 3159757"/>
              <a:gd name="connsiteX1" fmla="*/ 720401 w 2901737"/>
              <a:gd name="connsiteY1" fmla="*/ 0 h 3159757"/>
              <a:gd name="connsiteX2" fmla="*/ 2881603 w 2901737"/>
              <a:gd name="connsiteY2" fmla="*/ 0 h 3159757"/>
              <a:gd name="connsiteX3" fmla="*/ 2901737 w 2901737"/>
              <a:gd name="connsiteY3" fmla="*/ 3159757 h 3159757"/>
              <a:gd name="connsiteX4" fmla="*/ 0 w 2901737"/>
              <a:gd name="connsiteY4" fmla="*/ 3146878 h 3159757"/>
              <a:gd name="connsiteX0" fmla="*/ 0 w 2850221"/>
              <a:gd name="connsiteY0" fmla="*/ 3146878 h 3159757"/>
              <a:gd name="connsiteX1" fmla="*/ 668885 w 2850221"/>
              <a:gd name="connsiteY1" fmla="*/ 0 h 3159757"/>
              <a:gd name="connsiteX2" fmla="*/ 2830087 w 2850221"/>
              <a:gd name="connsiteY2" fmla="*/ 0 h 3159757"/>
              <a:gd name="connsiteX3" fmla="*/ 2850221 w 2850221"/>
              <a:gd name="connsiteY3" fmla="*/ 3159757 h 3159757"/>
              <a:gd name="connsiteX4" fmla="*/ 0 w 2850221"/>
              <a:gd name="connsiteY4" fmla="*/ 3146878 h 3159757"/>
              <a:gd name="connsiteX0" fmla="*/ 0 w 2863100"/>
              <a:gd name="connsiteY0" fmla="*/ 3166196 h 3166196"/>
              <a:gd name="connsiteX1" fmla="*/ 681764 w 2863100"/>
              <a:gd name="connsiteY1" fmla="*/ 0 h 3166196"/>
              <a:gd name="connsiteX2" fmla="*/ 2842966 w 2863100"/>
              <a:gd name="connsiteY2" fmla="*/ 0 h 3166196"/>
              <a:gd name="connsiteX3" fmla="*/ 2863100 w 2863100"/>
              <a:gd name="connsiteY3" fmla="*/ 3159757 h 3166196"/>
              <a:gd name="connsiteX4" fmla="*/ 0 w 2863100"/>
              <a:gd name="connsiteY4" fmla="*/ 3166196 h 3166196"/>
              <a:gd name="connsiteX0" fmla="*/ 0 w 2901736"/>
              <a:gd name="connsiteY0" fmla="*/ 3159757 h 3159757"/>
              <a:gd name="connsiteX1" fmla="*/ 720400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59757 h 3159757"/>
              <a:gd name="connsiteX1" fmla="*/ 1016614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66196 h 3166196"/>
              <a:gd name="connsiteX1" fmla="*/ 1145403 w 2901736"/>
              <a:gd name="connsiteY1" fmla="*/ 0 h 3166196"/>
              <a:gd name="connsiteX2" fmla="*/ 2881602 w 2901736"/>
              <a:gd name="connsiteY2" fmla="*/ 6439 h 3166196"/>
              <a:gd name="connsiteX3" fmla="*/ 2901736 w 2901736"/>
              <a:gd name="connsiteY3" fmla="*/ 3166196 h 3166196"/>
              <a:gd name="connsiteX4" fmla="*/ 0 w 2901736"/>
              <a:gd name="connsiteY4" fmla="*/ 3166196 h 3166196"/>
              <a:gd name="connsiteX0" fmla="*/ 0 w 2901736"/>
              <a:gd name="connsiteY0" fmla="*/ 3159757 h 3159757"/>
              <a:gd name="connsiteX1" fmla="*/ 1248434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66197 h 3166197"/>
              <a:gd name="connsiteX1" fmla="*/ 1396541 w 2901736"/>
              <a:gd name="connsiteY1" fmla="*/ 0 h 3166197"/>
              <a:gd name="connsiteX2" fmla="*/ 2881602 w 2901736"/>
              <a:gd name="connsiteY2" fmla="*/ 6440 h 3166197"/>
              <a:gd name="connsiteX3" fmla="*/ 2901736 w 2901736"/>
              <a:gd name="connsiteY3" fmla="*/ 3166197 h 3166197"/>
              <a:gd name="connsiteX4" fmla="*/ 0 w 2901736"/>
              <a:gd name="connsiteY4" fmla="*/ 3166197 h 3166197"/>
              <a:gd name="connsiteX0" fmla="*/ 0 w 2901736"/>
              <a:gd name="connsiteY0" fmla="*/ 3159758 h 3159758"/>
              <a:gd name="connsiteX1" fmla="*/ 1332146 w 2901736"/>
              <a:gd name="connsiteY1" fmla="*/ 0 h 3159758"/>
              <a:gd name="connsiteX2" fmla="*/ 2881602 w 2901736"/>
              <a:gd name="connsiteY2" fmla="*/ 1 h 3159758"/>
              <a:gd name="connsiteX3" fmla="*/ 2901736 w 2901736"/>
              <a:gd name="connsiteY3" fmla="*/ 3159758 h 3159758"/>
              <a:gd name="connsiteX4" fmla="*/ 0 w 2901736"/>
              <a:gd name="connsiteY4" fmla="*/ 3159758 h 3159758"/>
              <a:gd name="connsiteX0" fmla="*/ 0 w 2901736"/>
              <a:gd name="connsiteY0" fmla="*/ 3159758 h 3159758"/>
              <a:gd name="connsiteX1" fmla="*/ 1332146 w 2901736"/>
              <a:gd name="connsiteY1" fmla="*/ 0 h 3159758"/>
              <a:gd name="connsiteX2" fmla="*/ 2881602 w 2901736"/>
              <a:gd name="connsiteY2" fmla="*/ 1 h 3159758"/>
              <a:gd name="connsiteX3" fmla="*/ 2901736 w 2901736"/>
              <a:gd name="connsiteY3" fmla="*/ 3159758 h 3159758"/>
              <a:gd name="connsiteX4" fmla="*/ 0 w 2901736"/>
              <a:gd name="connsiteY4" fmla="*/ 3159758 h 3159758"/>
              <a:gd name="connsiteX0" fmla="*/ 0 w 2908176"/>
              <a:gd name="connsiteY0" fmla="*/ 3153318 h 3159758"/>
              <a:gd name="connsiteX1" fmla="*/ 1338586 w 2908176"/>
              <a:gd name="connsiteY1" fmla="*/ 0 h 3159758"/>
              <a:gd name="connsiteX2" fmla="*/ 2888042 w 2908176"/>
              <a:gd name="connsiteY2" fmla="*/ 1 h 3159758"/>
              <a:gd name="connsiteX3" fmla="*/ 2908176 w 2908176"/>
              <a:gd name="connsiteY3" fmla="*/ 3159758 h 3159758"/>
              <a:gd name="connsiteX4" fmla="*/ 0 w 2908176"/>
              <a:gd name="connsiteY4" fmla="*/ 3153318 h 3159758"/>
              <a:gd name="connsiteX0" fmla="*/ 0 w 2908176"/>
              <a:gd name="connsiteY0" fmla="*/ 3153318 h 3159758"/>
              <a:gd name="connsiteX1" fmla="*/ 1338586 w 2908176"/>
              <a:gd name="connsiteY1" fmla="*/ 0 h 3159758"/>
              <a:gd name="connsiteX2" fmla="*/ 2907360 w 2908176"/>
              <a:gd name="connsiteY2" fmla="*/ 1 h 3159758"/>
              <a:gd name="connsiteX3" fmla="*/ 2908176 w 2908176"/>
              <a:gd name="connsiteY3" fmla="*/ 3159758 h 3159758"/>
              <a:gd name="connsiteX4" fmla="*/ 0 w 2908176"/>
              <a:gd name="connsiteY4" fmla="*/ 3153318 h 3159758"/>
              <a:gd name="connsiteX0" fmla="*/ 0 w 2916197"/>
              <a:gd name="connsiteY0" fmla="*/ 3153318 h 3159758"/>
              <a:gd name="connsiteX1" fmla="*/ 1346607 w 2916197"/>
              <a:gd name="connsiteY1" fmla="*/ 0 h 3159758"/>
              <a:gd name="connsiteX2" fmla="*/ 2915381 w 2916197"/>
              <a:gd name="connsiteY2" fmla="*/ 1 h 3159758"/>
              <a:gd name="connsiteX3" fmla="*/ 2916197 w 2916197"/>
              <a:gd name="connsiteY3" fmla="*/ 3159758 h 3159758"/>
              <a:gd name="connsiteX4" fmla="*/ 0 w 2916197"/>
              <a:gd name="connsiteY4" fmla="*/ 3153318 h 3159758"/>
              <a:gd name="connsiteX0" fmla="*/ 0 w 2912187"/>
              <a:gd name="connsiteY0" fmla="*/ 3153318 h 3159758"/>
              <a:gd name="connsiteX1" fmla="*/ 1342597 w 2912187"/>
              <a:gd name="connsiteY1" fmla="*/ 0 h 3159758"/>
              <a:gd name="connsiteX2" fmla="*/ 2911371 w 2912187"/>
              <a:gd name="connsiteY2" fmla="*/ 1 h 3159758"/>
              <a:gd name="connsiteX3" fmla="*/ 2912187 w 2912187"/>
              <a:gd name="connsiteY3" fmla="*/ 3159758 h 3159758"/>
              <a:gd name="connsiteX4" fmla="*/ 0 w 2912187"/>
              <a:gd name="connsiteY4" fmla="*/ 3153318 h 3159758"/>
              <a:gd name="connsiteX0" fmla="*/ 0 w 2912187"/>
              <a:gd name="connsiteY0" fmla="*/ 3153318 h 3159758"/>
              <a:gd name="connsiteX1" fmla="*/ 1342597 w 2912187"/>
              <a:gd name="connsiteY1" fmla="*/ 0 h 3159758"/>
              <a:gd name="connsiteX2" fmla="*/ 2911371 w 2912187"/>
              <a:gd name="connsiteY2" fmla="*/ 1 h 3159758"/>
              <a:gd name="connsiteX3" fmla="*/ 2912187 w 2912187"/>
              <a:gd name="connsiteY3" fmla="*/ 3159758 h 3159758"/>
              <a:gd name="connsiteX4" fmla="*/ 0 w 2912187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04166" h="3159758">
                <a:moveTo>
                  <a:pt x="0" y="3153318"/>
                </a:moveTo>
                <a:lnTo>
                  <a:pt x="1334576" y="0"/>
                </a:lnTo>
                <a:lnTo>
                  <a:pt x="2903350" y="1"/>
                </a:lnTo>
                <a:lnTo>
                  <a:pt x="2904166" y="3159758"/>
                </a:lnTo>
                <a:lnTo>
                  <a:pt x="0" y="315331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4" name="Textfeld 13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9"/>
          </p:nvPr>
        </p:nvSpPr>
        <p:spPr>
          <a:xfrm>
            <a:off x="8419364" y="0"/>
            <a:ext cx="537069" cy="337532"/>
          </a:xfrm>
          <a:custGeom>
            <a:avLst/>
            <a:gdLst>
              <a:gd name="connsiteX0" fmla="*/ 0 w 462372"/>
              <a:gd name="connsiteY0" fmla="*/ 325897 h 325897"/>
              <a:gd name="connsiteX1" fmla="*/ 81474 w 462372"/>
              <a:gd name="connsiteY1" fmla="*/ 0 h 325897"/>
              <a:gd name="connsiteX2" fmla="*/ 462372 w 462372"/>
              <a:gd name="connsiteY2" fmla="*/ 0 h 325897"/>
              <a:gd name="connsiteX3" fmla="*/ 380898 w 462372"/>
              <a:gd name="connsiteY3" fmla="*/ 325897 h 325897"/>
              <a:gd name="connsiteX4" fmla="*/ 0 w 462372"/>
              <a:gd name="connsiteY4" fmla="*/ 325897 h 325897"/>
              <a:gd name="connsiteX0" fmla="*/ 0 w 1273741"/>
              <a:gd name="connsiteY0" fmla="*/ 328472 h 328472"/>
              <a:gd name="connsiteX1" fmla="*/ 81474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28472"/>
              <a:gd name="connsiteX1" fmla="*/ 743448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31048"/>
              <a:gd name="connsiteX1" fmla="*/ 743448 w 1273741"/>
              <a:gd name="connsiteY1" fmla="*/ 2575 h 331048"/>
              <a:gd name="connsiteX2" fmla="*/ 1273741 w 1273741"/>
              <a:gd name="connsiteY2" fmla="*/ 0 h 331048"/>
              <a:gd name="connsiteX3" fmla="*/ 1127872 w 1273741"/>
              <a:gd name="connsiteY3" fmla="*/ 331048 h 331048"/>
              <a:gd name="connsiteX4" fmla="*/ 0 w 1273741"/>
              <a:gd name="connsiteY4" fmla="*/ 328472 h 331048"/>
              <a:gd name="connsiteX0" fmla="*/ 0 w 640100"/>
              <a:gd name="connsiteY0" fmla="*/ 328472 h 331048"/>
              <a:gd name="connsiteX1" fmla="*/ 109807 w 640100"/>
              <a:gd name="connsiteY1" fmla="*/ 2575 h 331048"/>
              <a:gd name="connsiteX2" fmla="*/ 640100 w 640100"/>
              <a:gd name="connsiteY2" fmla="*/ 0 h 331048"/>
              <a:gd name="connsiteX3" fmla="*/ 494231 w 640100"/>
              <a:gd name="connsiteY3" fmla="*/ 331048 h 331048"/>
              <a:gd name="connsiteX4" fmla="*/ 0 w 640100"/>
              <a:gd name="connsiteY4" fmla="*/ 328472 h 331048"/>
              <a:gd name="connsiteX0" fmla="*/ 0 w 640100"/>
              <a:gd name="connsiteY0" fmla="*/ 336200 h 338776"/>
              <a:gd name="connsiteX1" fmla="*/ 375112 w 640100"/>
              <a:gd name="connsiteY1" fmla="*/ 0 h 338776"/>
              <a:gd name="connsiteX2" fmla="*/ 640100 w 640100"/>
              <a:gd name="connsiteY2" fmla="*/ 7728 h 338776"/>
              <a:gd name="connsiteX3" fmla="*/ 494231 w 640100"/>
              <a:gd name="connsiteY3" fmla="*/ 338776 h 338776"/>
              <a:gd name="connsiteX4" fmla="*/ 0 w 640100"/>
              <a:gd name="connsiteY4" fmla="*/ 336200 h 338776"/>
              <a:gd name="connsiteX0" fmla="*/ 0 w 640100"/>
              <a:gd name="connsiteY0" fmla="*/ 331049 h 333625"/>
              <a:gd name="connsiteX1" fmla="*/ 248899 w 640100"/>
              <a:gd name="connsiteY1" fmla="*/ 0 h 333625"/>
              <a:gd name="connsiteX2" fmla="*/ 640100 w 640100"/>
              <a:gd name="connsiteY2" fmla="*/ 2577 h 333625"/>
              <a:gd name="connsiteX3" fmla="*/ 494231 w 640100"/>
              <a:gd name="connsiteY3" fmla="*/ 333625 h 333625"/>
              <a:gd name="connsiteX4" fmla="*/ 0 w 640100"/>
              <a:gd name="connsiteY4" fmla="*/ 331049 h 333625"/>
              <a:gd name="connsiteX0" fmla="*/ 0 w 537069"/>
              <a:gd name="connsiteY0" fmla="*/ 336200 h 336200"/>
              <a:gd name="connsiteX1" fmla="*/ 145868 w 537069"/>
              <a:gd name="connsiteY1" fmla="*/ 0 h 336200"/>
              <a:gd name="connsiteX2" fmla="*/ 537069 w 537069"/>
              <a:gd name="connsiteY2" fmla="*/ 2577 h 336200"/>
              <a:gd name="connsiteX3" fmla="*/ 391200 w 537069"/>
              <a:gd name="connsiteY3" fmla="*/ 333625 h 336200"/>
              <a:gd name="connsiteX4" fmla="*/ 0 w 537069"/>
              <a:gd name="connsiteY4" fmla="*/ 336200 h 336200"/>
              <a:gd name="connsiteX0" fmla="*/ 0 w 537069"/>
              <a:gd name="connsiteY0" fmla="*/ 336200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6200 h 338776"/>
              <a:gd name="connsiteX0" fmla="*/ 0 w 537069"/>
              <a:gd name="connsiteY0" fmla="*/ 338776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8776 h 338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7069" h="338776">
                <a:moveTo>
                  <a:pt x="0" y="338776"/>
                </a:moveTo>
                <a:lnTo>
                  <a:pt x="145868" y="0"/>
                </a:lnTo>
                <a:lnTo>
                  <a:pt x="537069" y="2577"/>
                </a:lnTo>
                <a:lnTo>
                  <a:pt x="393776" y="338776"/>
                </a:lnTo>
                <a:lnTo>
                  <a:pt x="0" y="338776"/>
                </a:lnTo>
                <a:close/>
              </a:path>
            </a:pathLst>
          </a:custGeo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285985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ressionen 4 Bil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7"/>
          </p:nvPr>
        </p:nvSpPr>
        <p:spPr>
          <a:xfrm>
            <a:off x="5541815" y="-6438"/>
            <a:ext cx="3618947" cy="5177284"/>
          </a:xfrm>
          <a:custGeom>
            <a:avLst/>
            <a:gdLst>
              <a:gd name="connsiteX0" fmla="*/ 0 w 2881603"/>
              <a:gd name="connsiteY0" fmla="*/ 3146878 h 3146878"/>
              <a:gd name="connsiteX1" fmla="*/ 720401 w 2881603"/>
              <a:gd name="connsiteY1" fmla="*/ 0 h 3146878"/>
              <a:gd name="connsiteX2" fmla="*/ 2881603 w 2881603"/>
              <a:gd name="connsiteY2" fmla="*/ 0 h 3146878"/>
              <a:gd name="connsiteX3" fmla="*/ 2161202 w 2881603"/>
              <a:gd name="connsiteY3" fmla="*/ 3146878 h 3146878"/>
              <a:gd name="connsiteX4" fmla="*/ 0 w 2881603"/>
              <a:gd name="connsiteY4" fmla="*/ 3146878 h 3146878"/>
              <a:gd name="connsiteX0" fmla="*/ 0 w 2901737"/>
              <a:gd name="connsiteY0" fmla="*/ 3146878 h 3159757"/>
              <a:gd name="connsiteX1" fmla="*/ 720401 w 2901737"/>
              <a:gd name="connsiteY1" fmla="*/ 0 h 3159757"/>
              <a:gd name="connsiteX2" fmla="*/ 2881603 w 2901737"/>
              <a:gd name="connsiteY2" fmla="*/ 0 h 3159757"/>
              <a:gd name="connsiteX3" fmla="*/ 2901737 w 2901737"/>
              <a:gd name="connsiteY3" fmla="*/ 3159757 h 3159757"/>
              <a:gd name="connsiteX4" fmla="*/ 0 w 2901737"/>
              <a:gd name="connsiteY4" fmla="*/ 3146878 h 3159757"/>
              <a:gd name="connsiteX0" fmla="*/ 0 w 2850221"/>
              <a:gd name="connsiteY0" fmla="*/ 3146878 h 3159757"/>
              <a:gd name="connsiteX1" fmla="*/ 668885 w 2850221"/>
              <a:gd name="connsiteY1" fmla="*/ 0 h 3159757"/>
              <a:gd name="connsiteX2" fmla="*/ 2830087 w 2850221"/>
              <a:gd name="connsiteY2" fmla="*/ 0 h 3159757"/>
              <a:gd name="connsiteX3" fmla="*/ 2850221 w 2850221"/>
              <a:gd name="connsiteY3" fmla="*/ 3159757 h 3159757"/>
              <a:gd name="connsiteX4" fmla="*/ 0 w 2850221"/>
              <a:gd name="connsiteY4" fmla="*/ 3146878 h 3159757"/>
              <a:gd name="connsiteX0" fmla="*/ 0 w 2863100"/>
              <a:gd name="connsiteY0" fmla="*/ 3166196 h 3166196"/>
              <a:gd name="connsiteX1" fmla="*/ 681764 w 2863100"/>
              <a:gd name="connsiteY1" fmla="*/ 0 h 3166196"/>
              <a:gd name="connsiteX2" fmla="*/ 2842966 w 2863100"/>
              <a:gd name="connsiteY2" fmla="*/ 0 h 3166196"/>
              <a:gd name="connsiteX3" fmla="*/ 2863100 w 2863100"/>
              <a:gd name="connsiteY3" fmla="*/ 3159757 h 3166196"/>
              <a:gd name="connsiteX4" fmla="*/ 0 w 2863100"/>
              <a:gd name="connsiteY4" fmla="*/ 3166196 h 3166196"/>
              <a:gd name="connsiteX0" fmla="*/ 0 w 2901736"/>
              <a:gd name="connsiteY0" fmla="*/ 3159757 h 3159757"/>
              <a:gd name="connsiteX1" fmla="*/ 720400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59757 h 3159757"/>
              <a:gd name="connsiteX1" fmla="*/ 1016614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66196 h 3166196"/>
              <a:gd name="connsiteX1" fmla="*/ 1145403 w 2901736"/>
              <a:gd name="connsiteY1" fmla="*/ 0 h 3166196"/>
              <a:gd name="connsiteX2" fmla="*/ 2881602 w 2901736"/>
              <a:gd name="connsiteY2" fmla="*/ 6439 h 3166196"/>
              <a:gd name="connsiteX3" fmla="*/ 2901736 w 2901736"/>
              <a:gd name="connsiteY3" fmla="*/ 3166196 h 3166196"/>
              <a:gd name="connsiteX4" fmla="*/ 0 w 2901736"/>
              <a:gd name="connsiteY4" fmla="*/ 3166196 h 3166196"/>
              <a:gd name="connsiteX0" fmla="*/ 0 w 2901736"/>
              <a:gd name="connsiteY0" fmla="*/ 3159757 h 3159757"/>
              <a:gd name="connsiteX1" fmla="*/ 1248434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66197 h 3166197"/>
              <a:gd name="connsiteX1" fmla="*/ 1396541 w 2901736"/>
              <a:gd name="connsiteY1" fmla="*/ 0 h 3166197"/>
              <a:gd name="connsiteX2" fmla="*/ 2881602 w 2901736"/>
              <a:gd name="connsiteY2" fmla="*/ 6440 h 3166197"/>
              <a:gd name="connsiteX3" fmla="*/ 2901736 w 2901736"/>
              <a:gd name="connsiteY3" fmla="*/ 3166197 h 3166197"/>
              <a:gd name="connsiteX4" fmla="*/ 0 w 2901736"/>
              <a:gd name="connsiteY4" fmla="*/ 3166197 h 3166197"/>
              <a:gd name="connsiteX0" fmla="*/ 0 w 2901736"/>
              <a:gd name="connsiteY0" fmla="*/ 3159758 h 3159758"/>
              <a:gd name="connsiteX1" fmla="*/ 1332146 w 2901736"/>
              <a:gd name="connsiteY1" fmla="*/ 0 h 3159758"/>
              <a:gd name="connsiteX2" fmla="*/ 2881602 w 2901736"/>
              <a:gd name="connsiteY2" fmla="*/ 1 h 3159758"/>
              <a:gd name="connsiteX3" fmla="*/ 2901736 w 2901736"/>
              <a:gd name="connsiteY3" fmla="*/ 3159758 h 3159758"/>
              <a:gd name="connsiteX4" fmla="*/ 0 w 2901736"/>
              <a:gd name="connsiteY4" fmla="*/ 3159758 h 3159758"/>
              <a:gd name="connsiteX0" fmla="*/ 0 w 2901736"/>
              <a:gd name="connsiteY0" fmla="*/ 3159758 h 3159758"/>
              <a:gd name="connsiteX1" fmla="*/ 1332146 w 2901736"/>
              <a:gd name="connsiteY1" fmla="*/ 0 h 3159758"/>
              <a:gd name="connsiteX2" fmla="*/ 2881602 w 2901736"/>
              <a:gd name="connsiteY2" fmla="*/ 1 h 3159758"/>
              <a:gd name="connsiteX3" fmla="*/ 2901736 w 2901736"/>
              <a:gd name="connsiteY3" fmla="*/ 3159758 h 3159758"/>
              <a:gd name="connsiteX4" fmla="*/ 0 w 2901736"/>
              <a:gd name="connsiteY4" fmla="*/ 3159758 h 3159758"/>
              <a:gd name="connsiteX0" fmla="*/ 0 w 2908176"/>
              <a:gd name="connsiteY0" fmla="*/ 3153318 h 3159758"/>
              <a:gd name="connsiteX1" fmla="*/ 1338586 w 2908176"/>
              <a:gd name="connsiteY1" fmla="*/ 0 h 3159758"/>
              <a:gd name="connsiteX2" fmla="*/ 2888042 w 2908176"/>
              <a:gd name="connsiteY2" fmla="*/ 1 h 3159758"/>
              <a:gd name="connsiteX3" fmla="*/ 2908176 w 2908176"/>
              <a:gd name="connsiteY3" fmla="*/ 3159758 h 3159758"/>
              <a:gd name="connsiteX4" fmla="*/ 0 w 2908176"/>
              <a:gd name="connsiteY4" fmla="*/ 3153318 h 3159758"/>
              <a:gd name="connsiteX0" fmla="*/ 0 w 2908176"/>
              <a:gd name="connsiteY0" fmla="*/ 3153318 h 3159758"/>
              <a:gd name="connsiteX1" fmla="*/ 1338586 w 2908176"/>
              <a:gd name="connsiteY1" fmla="*/ 0 h 3159758"/>
              <a:gd name="connsiteX2" fmla="*/ 2907360 w 2908176"/>
              <a:gd name="connsiteY2" fmla="*/ 1 h 3159758"/>
              <a:gd name="connsiteX3" fmla="*/ 2908176 w 2908176"/>
              <a:gd name="connsiteY3" fmla="*/ 3159758 h 3159758"/>
              <a:gd name="connsiteX4" fmla="*/ 0 w 2908176"/>
              <a:gd name="connsiteY4" fmla="*/ 3153318 h 3159758"/>
              <a:gd name="connsiteX0" fmla="*/ 0 w 2916197"/>
              <a:gd name="connsiteY0" fmla="*/ 3153318 h 3159758"/>
              <a:gd name="connsiteX1" fmla="*/ 1346607 w 2916197"/>
              <a:gd name="connsiteY1" fmla="*/ 0 h 3159758"/>
              <a:gd name="connsiteX2" fmla="*/ 2915381 w 2916197"/>
              <a:gd name="connsiteY2" fmla="*/ 1 h 3159758"/>
              <a:gd name="connsiteX3" fmla="*/ 2916197 w 2916197"/>
              <a:gd name="connsiteY3" fmla="*/ 3159758 h 3159758"/>
              <a:gd name="connsiteX4" fmla="*/ 0 w 2916197"/>
              <a:gd name="connsiteY4" fmla="*/ 3153318 h 3159758"/>
              <a:gd name="connsiteX0" fmla="*/ 0 w 2912187"/>
              <a:gd name="connsiteY0" fmla="*/ 3153318 h 3159758"/>
              <a:gd name="connsiteX1" fmla="*/ 1342597 w 2912187"/>
              <a:gd name="connsiteY1" fmla="*/ 0 h 3159758"/>
              <a:gd name="connsiteX2" fmla="*/ 2911371 w 2912187"/>
              <a:gd name="connsiteY2" fmla="*/ 1 h 3159758"/>
              <a:gd name="connsiteX3" fmla="*/ 2912187 w 2912187"/>
              <a:gd name="connsiteY3" fmla="*/ 3159758 h 3159758"/>
              <a:gd name="connsiteX4" fmla="*/ 0 w 2912187"/>
              <a:gd name="connsiteY4" fmla="*/ 3153318 h 3159758"/>
              <a:gd name="connsiteX0" fmla="*/ 0 w 2912187"/>
              <a:gd name="connsiteY0" fmla="*/ 3153318 h 3159758"/>
              <a:gd name="connsiteX1" fmla="*/ 1342597 w 2912187"/>
              <a:gd name="connsiteY1" fmla="*/ 0 h 3159758"/>
              <a:gd name="connsiteX2" fmla="*/ 2911371 w 2912187"/>
              <a:gd name="connsiteY2" fmla="*/ 1 h 3159758"/>
              <a:gd name="connsiteX3" fmla="*/ 2912187 w 2912187"/>
              <a:gd name="connsiteY3" fmla="*/ 3159758 h 3159758"/>
              <a:gd name="connsiteX4" fmla="*/ 0 w 2912187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3350"/>
              <a:gd name="connsiteY0" fmla="*/ 3153318 h 3155813"/>
              <a:gd name="connsiteX1" fmla="*/ 1334576 w 2903350"/>
              <a:gd name="connsiteY1" fmla="*/ 0 h 3155813"/>
              <a:gd name="connsiteX2" fmla="*/ 2903350 w 2903350"/>
              <a:gd name="connsiteY2" fmla="*/ 1 h 3155813"/>
              <a:gd name="connsiteX3" fmla="*/ 1440652 w 2903350"/>
              <a:gd name="connsiteY3" fmla="*/ 3155813 h 3155813"/>
              <a:gd name="connsiteX4" fmla="*/ 0 w 2903350"/>
              <a:gd name="connsiteY4" fmla="*/ 3153318 h 3155813"/>
              <a:gd name="connsiteX0" fmla="*/ 0 w 2903350"/>
              <a:gd name="connsiteY0" fmla="*/ 3153318 h 3167647"/>
              <a:gd name="connsiteX1" fmla="*/ 1334576 w 2903350"/>
              <a:gd name="connsiteY1" fmla="*/ 0 h 3167647"/>
              <a:gd name="connsiteX2" fmla="*/ 2903350 w 2903350"/>
              <a:gd name="connsiteY2" fmla="*/ 1 h 3167647"/>
              <a:gd name="connsiteX3" fmla="*/ 2205940 w 2903350"/>
              <a:gd name="connsiteY3" fmla="*/ 3167647 h 3167647"/>
              <a:gd name="connsiteX4" fmla="*/ 0 w 2903350"/>
              <a:gd name="connsiteY4" fmla="*/ 3153318 h 3167647"/>
              <a:gd name="connsiteX0" fmla="*/ 0 w 2903350"/>
              <a:gd name="connsiteY0" fmla="*/ 3153318 h 3159757"/>
              <a:gd name="connsiteX1" fmla="*/ 1334576 w 2903350"/>
              <a:gd name="connsiteY1" fmla="*/ 0 h 3159757"/>
              <a:gd name="connsiteX2" fmla="*/ 2903350 w 2903350"/>
              <a:gd name="connsiteY2" fmla="*/ 1 h 3159757"/>
              <a:gd name="connsiteX3" fmla="*/ 2205940 w 2903350"/>
              <a:gd name="connsiteY3" fmla="*/ 3159757 h 3159757"/>
              <a:gd name="connsiteX4" fmla="*/ 0 w 2903350"/>
              <a:gd name="connsiteY4" fmla="*/ 3153318 h 3159757"/>
              <a:gd name="connsiteX0" fmla="*/ 0 w 2512817"/>
              <a:gd name="connsiteY0" fmla="*/ 3153318 h 3159757"/>
              <a:gd name="connsiteX1" fmla="*/ 1334576 w 2512817"/>
              <a:gd name="connsiteY1" fmla="*/ 0 h 3159757"/>
              <a:gd name="connsiteX2" fmla="*/ 2512817 w 2512817"/>
              <a:gd name="connsiteY2" fmla="*/ 7890 h 3159757"/>
              <a:gd name="connsiteX3" fmla="*/ 2205940 w 2512817"/>
              <a:gd name="connsiteY3" fmla="*/ 3159757 h 3159757"/>
              <a:gd name="connsiteX4" fmla="*/ 0 w 2512817"/>
              <a:gd name="connsiteY4" fmla="*/ 3153318 h 3159757"/>
              <a:gd name="connsiteX0" fmla="*/ 0 w 2248517"/>
              <a:gd name="connsiteY0" fmla="*/ 3153318 h 3159757"/>
              <a:gd name="connsiteX1" fmla="*/ 1334576 w 2248517"/>
              <a:gd name="connsiteY1" fmla="*/ 0 h 3159757"/>
              <a:gd name="connsiteX2" fmla="*/ 2248517 w 2248517"/>
              <a:gd name="connsiteY2" fmla="*/ 7890 h 3159757"/>
              <a:gd name="connsiteX3" fmla="*/ 2205940 w 2248517"/>
              <a:gd name="connsiteY3" fmla="*/ 3159757 h 3159757"/>
              <a:gd name="connsiteX4" fmla="*/ 0 w 2248517"/>
              <a:gd name="connsiteY4" fmla="*/ 3153318 h 3159757"/>
              <a:gd name="connsiteX0" fmla="*/ 0 w 2240627"/>
              <a:gd name="connsiteY0" fmla="*/ 3165152 h 3171591"/>
              <a:gd name="connsiteX1" fmla="*/ 1334576 w 2240627"/>
              <a:gd name="connsiteY1" fmla="*/ 11834 h 3171591"/>
              <a:gd name="connsiteX2" fmla="*/ 2240627 w 2240627"/>
              <a:gd name="connsiteY2" fmla="*/ 0 h 3171591"/>
              <a:gd name="connsiteX3" fmla="*/ 2205940 w 2240627"/>
              <a:gd name="connsiteY3" fmla="*/ 3171591 h 3171591"/>
              <a:gd name="connsiteX4" fmla="*/ 0 w 2240627"/>
              <a:gd name="connsiteY4" fmla="*/ 3165152 h 3171591"/>
              <a:gd name="connsiteX0" fmla="*/ 0 w 2236682"/>
              <a:gd name="connsiteY0" fmla="*/ 3153318 h 3159757"/>
              <a:gd name="connsiteX1" fmla="*/ 1334576 w 2236682"/>
              <a:gd name="connsiteY1" fmla="*/ 0 h 3159757"/>
              <a:gd name="connsiteX2" fmla="*/ 2236682 w 2236682"/>
              <a:gd name="connsiteY2" fmla="*/ 0 h 3159757"/>
              <a:gd name="connsiteX3" fmla="*/ 2205940 w 2236682"/>
              <a:gd name="connsiteY3" fmla="*/ 3159757 h 3159757"/>
              <a:gd name="connsiteX4" fmla="*/ 0 w 2236682"/>
              <a:gd name="connsiteY4" fmla="*/ 3153318 h 3159757"/>
              <a:gd name="connsiteX0" fmla="*/ 0 w 2209069"/>
              <a:gd name="connsiteY0" fmla="*/ 3153318 h 3159757"/>
              <a:gd name="connsiteX1" fmla="*/ 1334576 w 2209069"/>
              <a:gd name="connsiteY1" fmla="*/ 0 h 3159757"/>
              <a:gd name="connsiteX2" fmla="*/ 2209069 w 2209069"/>
              <a:gd name="connsiteY2" fmla="*/ 0 h 3159757"/>
              <a:gd name="connsiteX3" fmla="*/ 2205940 w 2209069"/>
              <a:gd name="connsiteY3" fmla="*/ 3159757 h 3159757"/>
              <a:gd name="connsiteX4" fmla="*/ 0 w 2209069"/>
              <a:gd name="connsiteY4" fmla="*/ 3153318 h 3159757"/>
              <a:gd name="connsiteX0" fmla="*/ 0 w 2209069"/>
              <a:gd name="connsiteY0" fmla="*/ 3153318 h 3163702"/>
              <a:gd name="connsiteX1" fmla="*/ 1334576 w 2209069"/>
              <a:gd name="connsiteY1" fmla="*/ 0 h 3163702"/>
              <a:gd name="connsiteX2" fmla="*/ 2209069 w 2209069"/>
              <a:gd name="connsiteY2" fmla="*/ 0 h 3163702"/>
              <a:gd name="connsiteX3" fmla="*/ 2142823 w 2209069"/>
              <a:gd name="connsiteY3" fmla="*/ 3163702 h 3163702"/>
              <a:gd name="connsiteX4" fmla="*/ 0 w 2209069"/>
              <a:gd name="connsiteY4" fmla="*/ 3153318 h 3163702"/>
              <a:gd name="connsiteX0" fmla="*/ 0 w 2209885"/>
              <a:gd name="connsiteY0" fmla="*/ 3153318 h 3167647"/>
              <a:gd name="connsiteX1" fmla="*/ 1334576 w 2209885"/>
              <a:gd name="connsiteY1" fmla="*/ 0 h 3167647"/>
              <a:gd name="connsiteX2" fmla="*/ 2209069 w 2209885"/>
              <a:gd name="connsiteY2" fmla="*/ 0 h 3167647"/>
              <a:gd name="connsiteX3" fmla="*/ 2209885 w 2209885"/>
              <a:gd name="connsiteY3" fmla="*/ 3167647 h 3167647"/>
              <a:gd name="connsiteX4" fmla="*/ 0 w 2209885"/>
              <a:gd name="connsiteY4" fmla="*/ 3153318 h 3167647"/>
              <a:gd name="connsiteX0" fmla="*/ 0 w 2209885"/>
              <a:gd name="connsiteY0" fmla="*/ 3153318 h 3167647"/>
              <a:gd name="connsiteX1" fmla="*/ 1334576 w 2209885"/>
              <a:gd name="connsiteY1" fmla="*/ 0 h 3167647"/>
              <a:gd name="connsiteX2" fmla="*/ 2169621 w 2209885"/>
              <a:gd name="connsiteY2" fmla="*/ 3945 h 3167647"/>
              <a:gd name="connsiteX3" fmla="*/ 2209885 w 2209885"/>
              <a:gd name="connsiteY3" fmla="*/ 3167647 h 3167647"/>
              <a:gd name="connsiteX4" fmla="*/ 0 w 2209885"/>
              <a:gd name="connsiteY4" fmla="*/ 3153318 h 3167647"/>
              <a:gd name="connsiteX0" fmla="*/ 0 w 2216958"/>
              <a:gd name="connsiteY0" fmla="*/ 3157262 h 3171591"/>
              <a:gd name="connsiteX1" fmla="*/ 1334576 w 2216958"/>
              <a:gd name="connsiteY1" fmla="*/ 3944 h 3171591"/>
              <a:gd name="connsiteX2" fmla="*/ 2216958 w 2216958"/>
              <a:gd name="connsiteY2" fmla="*/ 0 h 3171591"/>
              <a:gd name="connsiteX3" fmla="*/ 2209885 w 2216958"/>
              <a:gd name="connsiteY3" fmla="*/ 3171591 h 3171591"/>
              <a:gd name="connsiteX4" fmla="*/ 0 w 2216958"/>
              <a:gd name="connsiteY4" fmla="*/ 3157262 h 3171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16958" h="3171591">
                <a:moveTo>
                  <a:pt x="0" y="3157262"/>
                </a:moveTo>
                <a:lnTo>
                  <a:pt x="1334576" y="3944"/>
                </a:lnTo>
                <a:lnTo>
                  <a:pt x="2216958" y="0"/>
                </a:lnTo>
                <a:cubicBezTo>
                  <a:pt x="2214600" y="1057197"/>
                  <a:pt x="2212243" y="2114394"/>
                  <a:pt x="2209885" y="3171591"/>
                </a:cubicBezTo>
                <a:lnTo>
                  <a:pt x="0" y="3157262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5"/>
          </p:nvPr>
        </p:nvSpPr>
        <p:spPr>
          <a:xfrm>
            <a:off x="4136543" y="-15134"/>
            <a:ext cx="3553896" cy="1970477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501314"/>
              <a:gd name="connsiteY0" fmla="*/ 1622139 h 1622139"/>
              <a:gd name="connsiteX1" fmla="*/ 675227 w 4501314"/>
              <a:gd name="connsiteY1" fmla="*/ 10561 h 1622139"/>
              <a:gd name="connsiteX2" fmla="*/ 4501314 w 4501314"/>
              <a:gd name="connsiteY2" fmla="*/ 0 h 1622139"/>
              <a:gd name="connsiteX3" fmla="*/ 3426473 w 4501314"/>
              <a:gd name="connsiteY3" fmla="*/ 1620300 h 1622139"/>
              <a:gd name="connsiteX4" fmla="*/ 0 w 4501314"/>
              <a:gd name="connsiteY4" fmla="*/ 1622139 h 1622139"/>
              <a:gd name="connsiteX0" fmla="*/ 0 w 4702741"/>
              <a:gd name="connsiteY0" fmla="*/ 1617728 h 1620300"/>
              <a:gd name="connsiteX1" fmla="*/ 876654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876654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941398 w 4702741"/>
              <a:gd name="connsiteY1" fmla="*/ 6150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60292"/>
              <a:gd name="connsiteY0" fmla="*/ 1622139 h 1624711"/>
              <a:gd name="connsiteX1" fmla="*/ 1092467 w 4760292"/>
              <a:gd name="connsiteY1" fmla="*/ 14972 h 1624711"/>
              <a:gd name="connsiteX2" fmla="*/ 4760292 w 4760292"/>
              <a:gd name="connsiteY2" fmla="*/ 0 h 1624711"/>
              <a:gd name="connsiteX3" fmla="*/ 3627900 w 4760292"/>
              <a:gd name="connsiteY3" fmla="*/ 1624711 h 1624711"/>
              <a:gd name="connsiteX4" fmla="*/ 0 w 4760292"/>
              <a:gd name="connsiteY4" fmla="*/ 1622139 h 1624711"/>
              <a:gd name="connsiteX0" fmla="*/ 0 w 4760292"/>
              <a:gd name="connsiteY0" fmla="*/ 1622139 h 1624711"/>
              <a:gd name="connsiteX1" fmla="*/ 1092467 w 4760292"/>
              <a:gd name="connsiteY1" fmla="*/ 14972 h 1624711"/>
              <a:gd name="connsiteX2" fmla="*/ 4760292 w 4760292"/>
              <a:gd name="connsiteY2" fmla="*/ 0 h 1624711"/>
              <a:gd name="connsiteX3" fmla="*/ 3627900 w 4760292"/>
              <a:gd name="connsiteY3" fmla="*/ 1624711 h 1624711"/>
              <a:gd name="connsiteX4" fmla="*/ 0 w 4760292"/>
              <a:gd name="connsiteY4" fmla="*/ 1622139 h 1624711"/>
              <a:gd name="connsiteX0" fmla="*/ 0 w 4745905"/>
              <a:gd name="connsiteY0" fmla="*/ 1622139 h 1624711"/>
              <a:gd name="connsiteX1" fmla="*/ 1092467 w 4745905"/>
              <a:gd name="connsiteY1" fmla="*/ 14972 h 1624711"/>
              <a:gd name="connsiteX2" fmla="*/ 4745905 w 4745905"/>
              <a:gd name="connsiteY2" fmla="*/ 0 h 1624711"/>
              <a:gd name="connsiteX3" fmla="*/ 3627900 w 4745905"/>
              <a:gd name="connsiteY3" fmla="*/ 1624711 h 1624711"/>
              <a:gd name="connsiteX4" fmla="*/ 0 w 4745905"/>
              <a:gd name="connsiteY4" fmla="*/ 1622139 h 1624711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53098" h="1615889">
                <a:moveTo>
                  <a:pt x="0" y="1613317"/>
                </a:moveTo>
                <a:lnTo>
                  <a:pt x="1092467" y="6150"/>
                </a:lnTo>
                <a:lnTo>
                  <a:pt x="4753098" y="0"/>
                </a:lnTo>
                <a:cubicBezTo>
                  <a:pt x="4364023" y="562334"/>
                  <a:pt x="4071243" y="1007433"/>
                  <a:pt x="3627900" y="1615889"/>
                </a:cubicBezTo>
                <a:lnTo>
                  <a:pt x="0" y="1613317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7" name="Bildplatzhalter 4"/>
          <p:cNvSpPr>
            <a:spLocks noGrp="1"/>
          </p:cNvSpPr>
          <p:nvPr>
            <p:ph type="pic" sz="quarter" idx="16"/>
          </p:nvPr>
        </p:nvSpPr>
        <p:spPr>
          <a:xfrm>
            <a:off x="2774973" y="1996355"/>
            <a:ext cx="4054965" cy="3190138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60520 w 4105148"/>
              <a:gd name="connsiteY3" fmla="*/ 1531918 h 1611578"/>
              <a:gd name="connsiteX4" fmla="*/ 0 w 4105148"/>
              <a:gd name="connsiteY4" fmla="*/ 1611578 h 1611578"/>
              <a:gd name="connsiteX0" fmla="*/ 0 w 4080829"/>
              <a:gd name="connsiteY0" fmla="*/ 1548521 h 1548521"/>
              <a:gd name="connsiteX1" fmla="*/ 650908 w 4080829"/>
              <a:gd name="connsiteY1" fmla="*/ 173 h 1548521"/>
              <a:gd name="connsiteX2" fmla="*/ 4080829 w 4080829"/>
              <a:gd name="connsiteY2" fmla="*/ 173 h 1548521"/>
              <a:gd name="connsiteX3" fmla="*/ 3436201 w 4080829"/>
              <a:gd name="connsiteY3" fmla="*/ 1532091 h 1548521"/>
              <a:gd name="connsiteX4" fmla="*/ 0 w 4080829"/>
              <a:gd name="connsiteY4" fmla="*/ 1548521 h 1548521"/>
              <a:gd name="connsiteX0" fmla="*/ 0 w 4071101"/>
              <a:gd name="connsiteY0" fmla="*/ 1534149 h 1534149"/>
              <a:gd name="connsiteX1" fmla="*/ 641180 w 4071101"/>
              <a:gd name="connsiteY1" fmla="*/ 392 h 1534149"/>
              <a:gd name="connsiteX2" fmla="*/ 4071101 w 4071101"/>
              <a:gd name="connsiteY2" fmla="*/ 392 h 1534149"/>
              <a:gd name="connsiteX3" fmla="*/ 3426473 w 4071101"/>
              <a:gd name="connsiteY3" fmla="*/ 1532310 h 1534149"/>
              <a:gd name="connsiteX4" fmla="*/ 0 w 4071101"/>
              <a:gd name="connsiteY4" fmla="*/ 1534149 h 1534149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6703 h 1542665"/>
              <a:gd name="connsiteX1" fmla="*/ 1313533 w 4071101"/>
              <a:gd name="connsiteY1" fmla="*/ 346 h 1542665"/>
              <a:gd name="connsiteX2" fmla="*/ 4071101 w 4071101"/>
              <a:gd name="connsiteY2" fmla="*/ 2946 h 1542665"/>
              <a:gd name="connsiteX3" fmla="*/ 2721847 w 4071101"/>
              <a:gd name="connsiteY3" fmla="*/ 1542665 h 1542665"/>
              <a:gd name="connsiteX4" fmla="*/ 0 w 4071101"/>
              <a:gd name="connsiteY4" fmla="*/ 1536703 h 1542665"/>
              <a:gd name="connsiteX0" fmla="*/ 0 w 4071101"/>
              <a:gd name="connsiteY0" fmla="*/ 1536703 h 1542665"/>
              <a:gd name="connsiteX1" fmla="*/ 1313533 w 4071101"/>
              <a:gd name="connsiteY1" fmla="*/ 346 h 1542665"/>
              <a:gd name="connsiteX2" fmla="*/ 4071101 w 4071101"/>
              <a:gd name="connsiteY2" fmla="*/ 2946 h 1542665"/>
              <a:gd name="connsiteX3" fmla="*/ 2721847 w 4071101"/>
              <a:gd name="connsiteY3" fmla="*/ 1542665 h 1542665"/>
              <a:gd name="connsiteX4" fmla="*/ 0 w 4071101"/>
              <a:gd name="connsiteY4" fmla="*/ 1536703 h 1542665"/>
              <a:gd name="connsiteX0" fmla="*/ 0 w 4071101"/>
              <a:gd name="connsiteY0" fmla="*/ 1536357 h 1542319"/>
              <a:gd name="connsiteX1" fmla="*/ 1313533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24291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51185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56564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49586"/>
              <a:gd name="connsiteY0" fmla="*/ 1536357 h 1542319"/>
              <a:gd name="connsiteX1" fmla="*/ 1335049 w 4049586"/>
              <a:gd name="connsiteY1" fmla="*/ 0 h 1542319"/>
              <a:gd name="connsiteX2" fmla="*/ 4049586 w 4049586"/>
              <a:gd name="connsiteY2" fmla="*/ 2600 h 1542319"/>
              <a:gd name="connsiteX3" fmla="*/ 2700332 w 4049586"/>
              <a:gd name="connsiteY3" fmla="*/ 1542319 h 1542319"/>
              <a:gd name="connsiteX4" fmla="*/ 0 w 4049586"/>
              <a:gd name="connsiteY4" fmla="*/ 1536357 h 1542319"/>
              <a:gd name="connsiteX0" fmla="*/ 0 w 4054965"/>
              <a:gd name="connsiteY0" fmla="*/ 1533756 h 1542319"/>
              <a:gd name="connsiteX1" fmla="*/ 1340428 w 4054965"/>
              <a:gd name="connsiteY1" fmla="*/ 0 h 1542319"/>
              <a:gd name="connsiteX2" fmla="*/ 4054965 w 4054965"/>
              <a:gd name="connsiteY2" fmla="*/ 2600 h 1542319"/>
              <a:gd name="connsiteX3" fmla="*/ 2705711 w 4054965"/>
              <a:gd name="connsiteY3" fmla="*/ 1542319 h 1542319"/>
              <a:gd name="connsiteX4" fmla="*/ 0 w 4054965"/>
              <a:gd name="connsiteY4" fmla="*/ 1533756 h 1542319"/>
              <a:gd name="connsiteX0" fmla="*/ 0 w 4054965"/>
              <a:gd name="connsiteY0" fmla="*/ 1533756 h 1542319"/>
              <a:gd name="connsiteX1" fmla="*/ 1340428 w 4054965"/>
              <a:gd name="connsiteY1" fmla="*/ 0 h 1542319"/>
              <a:gd name="connsiteX2" fmla="*/ 4054965 w 4054965"/>
              <a:gd name="connsiteY2" fmla="*/ 2600 h 1542319"/>
              <a:gd name="connsiteX3" fmla="*/ 2705711 w 4054965"/>
              <a:gd name="connsiteY3" fmla="*/ 1542319 h 1542319"/>
              <a:gd name="connsiteX4" fmla="*/ 0 w 4054965"/>
              <a:gd name="connsiteY4" fmla="*/ 1533756 h 1542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54965" h="1542319">
                <a:moveTo>
                  <a:pt x="0" y="1533756"/>
                </a:moveTo>
                <a:lnTo>
                  <a:pt x="1340428" y="0"/>
                </a:lnTo>
                <a:lnTo>
                  <a:pt x="4054965" y="2600"/>
                </a:lnTo>
                <a:cubicBezTo>
                  <a:pt x="3578541" y="540509"/>
                  <a:pt x="3325892" y="848409"/>
                  <a:pt x="2705711" y="1542319"/>
                </a:cubicBezTo>
                <a:lnTo>
                  <a:pt x="0" y="1533756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9" name="Bildplatzhalter 9"/>
          <p:cNvSpPr>
            <a:spLocks noGrp="1"/>
          </p:cNvSpPr>
          <p:nvPr>
            <p:ph type="pic" sz="quarter" idx="14"/>
          </p:nvPr>
        </p:nvSpPr>
        <p:spPr>
          <a:xfrm>
            <a:off x="-42291" y="1290825"/>
            <a:ext cx="4416636" cy="3914494"/>
          </a:xfrm>
          <a:custGeom>
            <a:avLst/>
            <a:gdLst>
              <a:gd name="connsiteX0" fmla="*/ 0 w 4394200"/>
              <a:gd name="connsiteY0" fmla="*/ 2970212 h 2970212"/>
              <a:gd name="connsiteX1" fmla="*/ 742553 w 4394200"/>
              <a:gd name="connsiteY1" fmla="*/ 0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8341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324200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2364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699000"/>
              <a:gd name="connsiteY0" fmla="*/ 2970212 h 2970212"/>
              <a:gd name="connsiteX1" fmla="*/ 282364 w 4699000"/>
              <a:gd name="connsiteY1" fmla="*/ 5976 h 2970212"/>
              <a:gd name="connsiteX2" fmla="*/ 4699000 w 4699000"/>
              <a:gd name="connsiteY2" fmla="*/ 0 h 2970212"/>
              <a:gd name="connsiteX3" fmla="*/ 3651647 w 4699000"/>
              <a:gd name="connsiteY3" fmla="*/ 2970212 h 2970212"/>
              <a:gd name="connsiteX4" fmla="*/ 0 w 4699000"/>
              <a:gd name="connsiteY4" fmla="*/ 2970212 h 2970212"/>
              <a:gd name="connsiteX0" fmla="*/ 0 w 4699000"/>
              <a:gd name="connsiteY0" fmla="*/ 2970212 h 3998165"/>
              <a:gd name="connsiteX1" fmla="*/ 282364 w 4699000"/>
              <a:gd name="connsiteY1" fmla="*/ 5976 h 3998165"/>
              <a:gd name="connsiteX2" fmla="*/ 4699000 w 4699000"/>
              <a:gd name="connsiteY2" fmla="*/ 0 h 3998165"/>
              <a:gd name="connsiteX3" fmla="*/ 3006188 w 4699000"/>
              <a:gd name="connsiteY3" fmla="*/ 3998165 h 3998165"/>
              <a:gd name="connsiteX4" fmla="*/ 0 w 4699000"/>
              <a:gd name="connsiteY4" fmla="*/ 2970212 h 3998165"/>
              <a:gd name="connsiteX0" fmla="*/ 10483 w 4416636"/>
              <a:gd name="connsiteY0" fmla="*/ 3872659 h 3998165"/>
              <a:gd name="connsiteX1" fmla="*/ 0 w 4416636"/>
              <a:gd name="connsiteY1" fmla="*/ 5976 h 3998165"/>
              <a:gd name="connsiteX2" fmla="*/ 4416636 w 4416636"/>
              <a:gd name="connsiteY2" fmla="*/ 0 h 3998165"/>
              <a:gd name="connsiteX3" fmla="*/ 2723824 w 4416636"/>
              <a:gd name="connsiteY3" fmla="*/ 3998165 h 3998165"/>
              <a:gd name="connsiteX4" fmla="*/ 10483 w 4416636"/>
              <a:gd name="connsiteY4" fmla="*/ 3872659 h 3998165"/>
              <a:gd name="connsiteX0" fmla="*/ 10483 w 4416636"/>
              <a:gd name="connsiteY0" fmla="*/ 3872659 h 3890588"/>
              <a:gd name="connsiteX1" fmla="*/ 0 w 4416636"/>
              <a:gd name="connsiteY1" fmla="*/ 5976 h 3890588"/>
              <a:gd name="connsiteX2" fmla="*/ 4416636 w 4416636"/>
              <a:gd name="connsiteY2" fmla="*/ 0 h 3890588"/>
              <a:gd name="connsiteX3" fmla="*/ 2777613 w 4416636"/>
              <a:gd name="connsiteY3" fmla="*/ 3890588 h 3890588"/>
              <a:gd name="connsiteX4" fmla="*/ 10483 w 4416636"/>
              <a:gd name="connsiteY4" fmla="*/ 3872659 h 3890588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77613 w 4416636"/>
              <a:gd name="connsiteY3" fmla="*/ 3890588 h 3914494"/>
              <a:gd name="connsiteX4" fmla="*/ 10483 w 4416636"/>
              <a:gd name="connsiteY4" fmla="*/ 3914494 h 3914494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64734 w 4416636"/>
              <a:gd name="connsiteY3" fmla="*/ 3897027 h 3914494"/>
              <a:gd name="connsiteX4" fmla="*/ 10483 w 4416636"/>
              <a:gd name="connsiteY4" fmla="*/ 3914494 h 3914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16636" h="3914494">
                <a:moveTo>
                  <a:pt x="10483" y="3914494"/>
                </a:moveTo>
                <a:cubicBezTo>
                  <a:pt x="6989" y="2625600"/>
                  <a:pt x="3494" y="1294870"/>
                  <a:pt x="0" y="5976"/>
                </a:cubicBezTo>
                <a:lnTo>
                  <a:pt x="4416636" y="0"/>
                </a:lnTo>
                <a:lnTo>
                  <a:pt x="2764734" y="3897027"/>
                </a:lnTo>
                <a:lnTo>
                  <a:pt x="10483" y="3914494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2" name="Textfeld 11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18"/>
          </p:nvPr>
        </p:nvSpPr>
        <p:spPr>
          <a:xfrm>
            <a:off x="8419364" y="0"/>
            <a:ext cx="537069" cy="337532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055978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5866" y="474380"/>
            <a:ext cx="8057777" cy="7448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err="1"/>
              <a:t>Titel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5866" y="1420813"/>
            <a:ext cx="8057775" cy="3178175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err="1"/>
              <a:t>Untertitel</a:t>
            </a:r>
            <a:endParaRPr lang="en-GB" noProof="0" dirty="0"/>
          </a:p>
          <a:p>
            <a:pPr lvl="1"/>
            <a:r>
              <a:rPr lang="en-GB" noProof="0" dirty="0"/>
              <a:t>2.</a:t>
            </a:r>
          </a:p>
          <a:p>
            <a:pPr lvl="2"/>
            <a:r>
              <a:rPr lang="en-GB" noProof="0" dirty="0"/>
              <a:t>3.</a:t>
            </a:r>
          </a:p>
          <a:p>
            <a:pPr lvl="3"/>
            <a:r>
              <a:rPr lang="en-GB" noProof="0" dirty="0"/>
              <a:t>4.</a:t>
            </a:r>
          </a:p>
          <a:p>
            <a:pPr lvl="4"/>
            <a:r>
              <a:rPr lang="en-GB" noProof="0" dirty="0"/>
              <a:t>5.</a:t>
            </a:r>
          </a:p>
        </p:txBody>
      </p:sp>
      <p:sp>
        <p:nvSpPr>
          <p:cNvPr id="8" name="Foliennummernplatzhalter 16"/>
          <p:cNvSpPr>
            <a:spLocks noGrp="1"/>
          </p:cNvSpPr>
          <p:nvPr>
            <p:ph type="sldNum" sz="quarter" idx="4"/>
          </p:nvPr>
        </p:nvSpPr>
        <p:spPr>
          <a:xfrm>
            <a:off x="8419363" y="0"/>
            <a:ext cx="537069" cy="337532"/>
          </a:xfrm>
          <a:custGeom>
            <a:avLst/>
            <a:gdLst>
              <a:gd name="connsiteX0" fmla="*/ 0 w 462372"/>
              <a:gd name="connsiteY0" fmla="*/ 325897 h 325897"/>
              <a:gd name="connsiteX1" fmla="*/ 81474 w 462372"/>
              <a:gd name="connsiteY1" fmla="*/ 0 h 325897"/>
              <a:gd name="connsiteX2" fmla="*/ 462372 w 462372"/>
              <a:gd name="connsiteY2" fmla="*/ 0 h 325897"/>
              <a:gd name="connsiteX3" fmla="*/ 380898 w 462372"/>
              <a:gd name="connsiteY3" fmla="*/ 325897 h 325897"/>
              <a:gd name="connsiteX4" fmla="*/ 0 w 462372"/>
              <a:gd name="connsiteY4" fmla="*/ 325897 h 325897"/>
              <a:gd name="connsiteX0" fmla="*/ 0 w 1273741"/>
              <a:gd name="connsiteY0" fmla="*/ 328472 h 328472"/>
              <a:gd name="connsiteX1" fmla="*/ 81474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28472"/>
              <a:gd name="connsiteX1" fmla="*/ 743448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31048"/>
              <a:gd name="connsiteX1" fmla="*/ 743448 w 1273741"/>
              <a:gd name="connsiteY1" fmla="*/ 2575 h 331048"/>
              <a:gd name="connsiteX2" fmla="*/ 1273741 w 1273741"/>
              <a:gd name="connsiteY2" fmla="*/ 0 h 331048"/>
              <a:gd name="connsiteX3" fmla="*/ 1127872 w 1273741"/>
              <a:gd name="connsiteY3" fmla="*/ 331048 h 331048"/>
              <a:gd name="connsiteX4" fmla="*/ 0 w 1273741"/>
              <a:gd name="connsiteY4" fmla="*/ 328472 h 331048"/>
              <a:gd name="connsiteX0" fmla="*/ 0 w 640100"/>
              <a:gd name="connsiteY0" fmla="*/ 328472 h 331048"/>
              <a:gd name="connsiteX1" fmla="*/ 109807 w 640100"/>
              <a:gd name="connsiteY1" fmla="*/ 2575 h 331048"/>
              <a:gd name="connsiteX2" fmla="*/ 640100 w 640100"/>
              <a:gd name="connsiteY2" fmla="*/ 0 h 331048"/>
              <a:gd name="connsiteX3" fmla="*/ 494231 w 640100"/>
              <a:gd name="connsiteY3" fmla="*/ 331048 h 331048"/>
              <a:gd name="connsiteX4" fmla="*/ 0 w 640100"/>
              <a:gd name="connsiteY4" fmla="*/ 328472 h 331048"/>
              <a:gd name="connsiteX0" fmla="*/ 0 w 640100"/>
              <a:gd name="connsiteY0" fmla="*/ 336200 h 338776"/>
              <a:gd name="connsiteX1" fmla="*/ 375112 w 640100"/>
              <a:gd name="connsiteY1" fmla="*/ 0 h 338776"/>
              <a:gd name="connsiteX2" fmla="*/ 640100 w 640100"/>
              <a:gd name="connsiteY2" fmla="*/ 7728 h 338776"/>
              <a:gd name="connsiteX3" fmla="*/ 494231 w 640100"/>
              <a:gd name="connsiteY3" fmla="*/ 338776 h 338776"/>
              <a:gd name="connsiteX4" fmla="*/ 0 w 640100"/>
              <a:gd name="connsiteY4" fmla="*/ 336200 h 338776"/>
              <a:gd name="connsiteX0" fmla="*/ 0 w 640100"/>
              <a:gd name="connsiteY0" fmla="*/ 331049 h 333625"/>
              <a:gd name="connsiteX1" fmla="*/ 248899 w 640100"/>
              <a:gd name="connsiteY1" fmla="*/ 0 h 333625"/>
              <a:gd name="connsiteX2" fmla="*/ 640100 w 640100"/>
              <a:gd name="connsiteY2" fmla="*/ 2577 h 333625"/>
              <a:gd name="connsiteX3" fmla="*/ 494231 w 640100"/>
              <a:gd name="connsiteY3" fmla="*/ 333625 h 333625"/>
              <a:gd name="connsiteX4" fmla="*/ 0 w 640100"/>
              <a:gd name="connsiteY4" fmla="*/ 331049 h 333625"/>
              <a:gd name="connsiteX0" fmla="*/ 0 w 537069"/>
              <a:gd name="connsiteY0" fmla="*/ 336200 h 336200"/>
              <a:gd name="connsiteX1" fmla="*/ 145868 w 537069"/>
              <a:gd name="connsiteY1" fmla="*/ 0 h 336200"/>
              <a:gd name="connsiteX2" fmla="*/ 537069 w 537069"/>
              <a:gd name="connsiteY2" fmla="*/ 2577 h 336200"/>
              <a:gd name="connsiteX3" fmla="*/ 391200 w 537069"/>
              <a:gd name="connsiteY3" fmla="*/ 333625 h 336200"/>
              <a:gd name="connsiteX4" fmla="*/ 0 w 537069"/>
              <a:gd name="connsiteY4" fmla="*/ 336200 h 336200"/>
              <a:gd name="connsiteX0" fmla="*/ 0 w 537069"/>
              <a:gd name="connsiteY0" fmla="*/ 336200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6200 h 338776"/>
              <a:gd name="connsiteX0" fmla="*/ 0 w 537069"/>
              <a:gd name="connsiteY0" fmla="*/ 338776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8776 h 338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7069" h="338776">
                <a:moveTo>
                  <a:pt x="0" y="338776"/>
                </a:moveTo>
                <a:lnTo>
                  <a:pt x="145868" y="0"/>
                </a:lnTo>
                <a:lnTo>
                  <a:pt x="537069" y="2577"/>
                </a:lnTo>
                <a:lnTo>
                  <a:pt x="393776" y="338776"/>
                </a:lnTo>
                <a:lnTo>
                  <a:pt x="0" y="338776"/>
                </a:lnTo>
                <a:close/>
              </a:path>
            </a:pathLst>
          </a:custGeom>
          <a:solidFill>
            <a:schemeClr val="accent1"/>
          </a:solidFill>
        </p:spPr>
        <p:txBody>
          <a:bodyPr vert="horz" lIns="0" tIns="0" rIns="36000" bIns="36000" rtlCol="0" anchor="b" anchorCtr="0"/>
          <a:lstStyle>
            <a:lvl1pPr algn="ctr">
              <a:lnSpc>
                <a:spcPts val="1800"/>
              </a:lnSpc>
              <a:defRPr sz="1000">
                <a:solidFill>
                  <a:schemeClr val="bg2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defRPr>
            </a:lvl1pPr>
          </a:lstStyle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1" name="Textfeld 10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id="{7F46576E-74F6-450E-989E-40015FDF4796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rgbClr val="00B3E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32902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  <p:sldLayoutId id="2147483714" r:id="rId19"/>
    <p:sldLayoutId id="2147483715" r:id="rId20"/>
    <p:sldLayoutId id="2147483716" r:id="rId21"/>
    <p:sldLayoutId id="2147483717" r:id="rId22"/>
    <p:sldLayoutId id="2147483718" r:id="rId23"/>
    <p:sldLayoutId id="2147483719" r:id="rId24"/>
    <p:sldLayoutId id="2147483720" r:id="rId25"/>
    <p:sldLayoutId id="2147483721" r:id="rId26"/>
    <p:sldLayoutId id="2147483722" r:id="rId27"/>
    <p:sldLayoutId id="2147483723" r:id="rId28"/>
    <p:sldLayoutId id="2147483724" r:id="rId29"/>
    <p:sldLayoutId id="2147483725" r:id="rId30"/>
  </p:sldLayoutIdLst>
  <p:hf hdr="0" ftr="0" dt="0"/>
  <p:txStyles>
    <p:titleStyle>
      <a:lvl1pPr algn="l" defTabSz="685983" rtl="0" eaLnBrk="1" latinLnBrk="0" hangingPunct="1">
        <a:lnSpc>
          <a:spcPts val="3900"/>
        </a:lnSpc>
        <a:spcBef>
          <a:spcPct val="0"/>
        </a:spcBef>
        <a:buNone/>
        <a:defRPr sz="3200" kern="1200" cap="all" baseline="0">
          <a:solidFill>
            <a:schemeClr val="tx1"/>
          </a:solidFill>
          <a:latin typeface="Lato Light" panose="020F0502020204030203" pitchFamily="34" charset="0"/>
          <a:ea typeface="Lato Light" panose="020F0502020204030203" pitchFamily="34" charset="0"/>
          <a:cs typeface="Lato Light" panose="020F0502020204030203" pitchFamily="34" charset="0"/>
        </a:defRPr>
      </a:lvl1pPr>
    </p:titleStyle>
    <p:bodyStyle>
      <a:lvl1pPr marL="0" indent="0" algn="l" defTabSz="685983" rtl="0" eaLnBrk="1" latinLnBrk="0" hangingPunct="1">
        <a:lnSpc>
          <a:spcPts val="2000"/>
        </a:lnSpc>
        <a:spcBef>
          <a:spcPts val="750"/>
        </a:spcBef>
        <a:spcAft>
          <a:spcPts val="850"/>
        </a:spcAft>
        <a:buFont typeface="Arial" panose="020B0604020202020204" pitchFamily="34" charset="0"/>
        <a:buNone/>
        <a:defRPr sz="1600" kern="1200">
          <a:solidFill>
            <a:schemeClr val="accent1"/>
          </a:solidFill>
          <a:latin typeface="Lato Black" panose="020F0502020204030203" pitchFamily="34" charset="0"/>
          <a:ea typeface="Lato Black" panose="020F0502020204030203" pitchFamily="34" charset="0"/>
          <a:cs typeface="Lato Black" panose="020F0502020204030203" pitchFamily="34" charset="0"/>
        </a:defRPr>
      </a:lvl1pPr>
      <a:lvl2pPr marL="0" indent="0" algn="l" defTabSz="685983" rtl="0" eaLnBrk="1" latinLnBrk="0" hangingPunct="1">
        <a:lnSpc>
          <a:spcPts val="18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Lato" panose="020F0502020204030203" pitchFamily="34" charset="0"/>
          <a:ea typeface="Lato regular" panose="020F0502020204030203" pitchFamily="34" charset="0"/>
          <a:cs typeface="Lato regular" panose="020F0502020204030203" pitchFamily="34" charset="0"/>
        </a:defRPr>
      </a:lvl2pPr>
      <a:lvl3pPr marL="0" indent="0" algn="l" defTabSz="685983" rtl="0" eaLnBrk="1" latinLnBrk="0" hangingPunct="1">
        <a:lnSpc>
          <a:spcPts val="1300"/>
        </a:lnSpc>
        <a:spcBef>
          <a:spcPts val="0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Lato Black" panose="020F0502020204030203" pitchFamily="34" charset="0"/>
          <a:ea typeface="Lato Black" panose="020F0502020204030203" pitchFamily="34" charset="0"/>
          <a:cs typeface="Lato Black" panose="020F0502020204030203" pitchFamily="34" charset="0"/>
        </a:defRPr>
      </a:lvl3pPr>
      <a:lvl4pPr marL="0" indent="0" algn="l" defTabSz="685983" rtl="0" eaLnBrk="1" latinLnBrk="0" hangingPunct="1">
        <a:lnSpc>
          <a:spcPts val="1300"/>
        </a:lnSpc>
        <a:spcBef>
          <a:spcPts val="0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Lato" panose="020F0502020204030203" pitchFamily="34" charset="0"/>
          <a:ea typeface="Lato regular" panose="020F0502020204030203" pitchFamily="34" charset="0"/>
          <a:cs typeface="Lato regular" panose="020F0502020204030203" pitchFamily="34" charset="0"/>
        </a:defRPr>
      </a:lvl4pPr>
      <a:lvl5pPr marL="0" indent="0" algn="l" defTabSz="685983" rtl="0" eaLnBrk="1" latinLnBrk="0" hangingPunct="1">
        <a:lnSpc>
          <a:spcPts val="800"/>
        </a:lnSpc>
        <a:spcBef>
          <a:spcPts val="0"/>
        </a:spcBef>
        <a:buFont typeface="Arial" panose="020B0604020202020204" pitchFamily="34" charset="0"/>
        <a:buNone/>
        <a:defRPr sz="600" kern="1200">
          <a:solidFill>
            <a:schemeClr val="tx1"/>
          </a:solidFill>
          <a:latin typeface="Lato" panose="020F0502020204030203" pitchFamily="34" charset="0"/>
          <a:ea typeface="Lato regular" panose="020F0502020204030203" pitchFamily="34" charset="0"/>
          <a:cs typeface="Lato regular" panose="020F0502020204030203" pitchFamily="34" charset="0"/>
        </a:defRPr>
      </a:lvl5pPr>
      <a:lvl6pPr marL="0" indent="0" algn="l" defTabSz="685983" rtl="0" eaLnBrk="1" latinLnBrk="0" hangingPunct="1">
        <a:lnSpc>
          <a:spcPts val="800"/>
        </a:lnSpc>
        <a:spcBef>
          <a:spcPts val="0"/>
        </a:spcBef>
        <a:buFont typeface="Arial" panose="020B0604020202020204" pitchFamily="34" charset="0"/>
        <a:buNone/>
        <a:defRPr sz="600" kern="1200">
          <a:solidFill>
            <a:schemeClr val="tx1"/>
          </a:solidFill>
          <a:latin typeface="Lato regular" panose="020F0502020204030203" pitchFamily="34" charset="0"/>
          <a:ea typeface="Lato regular" panose="020F0502020204030203" pitchFamily="34" charset="0"/>
          <a:cs typeface="Lato regular" panose="020F0502020204030203" pitchFamily="34" charset="0"/>
        </a:defRPr>
      </a:lvl6pPr>
      <a:lvl7pPr marL="2229444" indent="-171496" algn="l" defTabSz="6859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2436" indent="-171496" algn="l" defTabSz="6859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5427" indent="-171496" algn="l" defTabSz="6859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91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983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974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966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957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949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940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932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1">
          <p15:clr>
            <a:srgbClr val="F26B43"/>
          </p15:clr>
        </p15:guide>
        <p15:guide id="2" orient="horz" pos="2897">
          <p15:clr>
            <a:srgbClr val="F26B43"/>
          </p15:clr>
        </p15:guide>
        <p15:guide id="3" pos="5421">
          <p15:clr>
            <a:srgbClr val="F26B43"/>
          </p15:clr>
        </p15:guide>
        <p15:guide id="4" orient="horz" pos="34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8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10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1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platzhalter 12">
            <a:extLst>
              <a:ext uri="{FF2B5EF4-FFF2-40B4-BE49-F238E27FC236}">
                <a16:creationId xmlns:a16="http://schemas.microsoft.com/office/drawing/2014/main" id="{F6AC3658-8187-44D1-A515-1EE1F44F342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01" b="12501"/>
          <a:stretch>
            <a:fillRect/>
          </a:stretch>
        </p:blipFill>
        <p:spPr/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B0AC8D1B-02BC-40C1-8C91-F45897FDFF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979" y="3911096"/>
            <a:ext cx="7211696" cy="69406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CH" sz="2400" dirty="0" err="1">
                <a:solidFill>
                  <a:schemeClr val="lt1"/>
                </a:solidFill>
              </a:rPr>
              <a:t>Water</a:t>
            </a:r>
            <a:r>
              <a:rPr lang="de-CH" sz="2400" dirty="0">
                <a:solidFill>
                  <a:schemeClr val="lt1"/>
                </a:solidFill>
              </a:rPr>
              <a:t> </a:t>
            </a:r>
            <a:r>
              <a:rPr lang="de-CH" sz="2400" dirty="0" err="1">
                <a:solidFill>
                  <a:schemeClr val="lt1"/>
                </a:solidFill>
              </a:rPr>
              <a:t>saving</a:t>
            </a:r>
            <a:r>
              <a:rPr lang="de-CH" sz="2400" dirty="0">
                <a:solidFill>
                  <a:schemeClr val="lt1"/>
                </a:solidFill>
              </a:rPr>
              <a:t> </a:t>
            </a:r>
            <a:r>
              <a:rPr lang="de-CH" sz="2400" dirty="0" err="1">
                <a:solidFill>
                  <a:schemeClr val="lt1"/>
                </a:solidFill>
              </a:rPr>
              <a:t>and</a:t>
            </a:r>
            <a:r>
              <a:rPr lang="de-CH" sz="2400" dirty="0">
                <a:solidFill>
                  <a:schemeClr val="lt1"/>
                </a:solidFill>
              </a:rPr>
              <a:t> </a:t>
            </a:r>
            <a:r>
              <a:rPr lang="de-CH" sz="2400" dirty="0" err="1">
                <a:solidFill>
                  <a:schemeClr val="lt1"/>
                </a:solidFill>
              </a:rPr>
              <a:t>leakage</a:t>
            </a:r>
            <a:r>
              <a:rPr lang="de-CH" sz="2400" dirty="0">
                <a:solidFill>
                  <a:schemeClr val="lt1"/>
                </a:solidFill>
              </a:rPr>
              <a:t> </a:t>
            </a:r>
            <a:r>
              <a:rPr lang="de-CH" sz="2400" dirty="0" err="1">
                <a:solidFill>
                  <a:schemeClr val="lt1"/>
                </a:solidFill>
              </a:rPr>
              <a:t>Protection</a:t>
            </a:r>
            <a:r>
              <a:rPr lang="de-CH" sz="2400" dirty="0">
                <a:solidFill>
                  <a:schemeClr val="lt1"/>
                </a:solidFill>
              </a:rPr>
              <a:t> System</a:t>
            </a:r>
            <a:br>
              <a:rPr lang="de-CH" sz="2400" dirty="0">
                <a:solidFill>
                  <a:schemeClr val="lt1"/>
                </a:solidFill>
              </a:rPr>
            </a:br>
            <a:r>
              <a:rPr lang="de-CH" sz="1000" dirty="0">
                <a:solidFill>
                  <a:schemeClr val="lt1"/>
                </a:solidFill>
              </a:rPr>
              <a:t>Semesterproject Group02 - HS2020</a:t>
            </a:r>
            <a:br>
              <a:rPr lang="de-CH" sz="1000" dirty="0">
                <a:solidFill>
                  <a:schemeClr val="lt1"/>
                </a:solidFill>
              </a:rPr>
            </a:br>
            <a:r>
              <a:rPr lang="de-CH" sz="1000" dirty="0" err="1">
                <a:solidFill>
                  <a:schemeClr val="lt1"/>
                </a:solidFill>
              </a:rPr>
              <a:t>Bosshard</a:t>
            </a:r>
            <a:r>
              <a:rPr lang="de-CH" sz="1000" dirty="0">
                <a:solidFill>
                  <a:schemeClr val="lt1"/>
                </a:solidFill>
              </a:rPr>
              <a:t> Nico, </a:t>
            </a:r>
            <a:r>
              <a:rPr lang="de-CH" sz="1000" dirty="0" err="1">
                <a:solidFill>
                  <a:schemeClr val="lt1"/>
                </a:solidFill>
              </a:rPr>
              <a:t>calovic</a:t>
            </a:r>
            <a:r>
              <a:rPr lang="de-CH" sz="1000" dirty="0">
                <a:solidFill>
                  <a:schemeClr val="lt1"/>
                </a:solidFill>
              </a:rPr>
              <a:t> Aleksandar, </a:t>
            </a:r>
            <a:r>
              <a:rPr lang="de-CH" sz="1000" dirty="0" err="1">
                <a:solidFill>
                  <a:schemeClr val="lt1"/>
                </a:solidFill>
              </a:rPr>
              <a:t>Kozlov</a:t>
            </a:r>
            <a:r>
              <a:rPr lang="de-CH" sz="1000" dirty="0">
                <a:solidFill>
                  <a:schemeClr val="lt1"/>
                </a:solidFill>
              </a:rPr>
              <a:t> Victor, </a:t>
            </a:r>
            <a:r>
              <a:rPr lang="de-CH" sz="1000" dirty="0" err="1">
                <a:solidFill>
                  <a:schemeClr val="lt1"/>
                </a:solidFill>
              </a:rPr>
              <a:t>Stofer</a:t>
            </a:r>
            <a:r>
              <a:rPr lang="de-CH" sz="1000" dirty="0">
                <a:solidFill>
                  <a:schemeClr val="lt1"/>
                </a:solidFill>
              </a:rPr>
              <a:t> Stephan</a:t>
            </a:r>
            <a:endParaRPr lang="de-CH" sz="2400" dirty="0">
              <a:solidFill>
                <a:schemeClr val="lt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93775485"/>
      </p:ext>
    </p:extLst>
  </p:cSld>
  <p:clrMapOvr>
    <a:masterClrMapping/>
  </p:clrMapOvr>
  <p:transition spd="slow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AC9A1F5-86C7-4B11-AC8C-D9854C328B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478" y="499780"/>
            <a:ext cx="3898800" cy="744818"/>
          </a:xfrm>
        </p:spPr>
        <p:txBody>
          <a:bodyPr/>
          <a:lstStyle/>
          <a:p>
            <a:r>
              <a:rPr lang="de-CH" dirty="0"/>
              <a:t>Sensors</a:t>
            </a:r>
            <a:endParaRPr lang="en-CH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35EE80AE-1491-4302-87C5-258F2D77276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09722"/>
            <a:ext cx="9147175" cy="3368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89693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8EFEA989-DEC4-40B0-8E01-1BF52E70A6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86819"/>
            <a:ext cx="9147175" cy="3958269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EFE7EE7A-7997-4304-BA3A-2E1E693873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478" y="499780"/>
            <a:ext cx="3898800" cy="744818"/>
          </a:xfrm>
        </p:spPr>
        <p:txBody>
          <a:bodyPr/>
          <a:lstStyle/>
          <a:p>
            <a:r>
              <a:rPr lang="de-CH" dirty="0"/>
              <a:t>Circuit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29901003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A6DB9C29-EBDF-45BD-83E9-15A898862BE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491" y="0"/>
            <a:ext cx="8748192" cy="514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10392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CF21ABAF-C465-5748-9B23-B18BB1AAFFA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76" r="10076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1DC3233-DC51-EC49-9081-BF86DCA12C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a-ET" dirty="0"/>
              <a:t>Espressif ESP32</a:t>
            </a:r>
          </a:p>
        </p:txBody>
      </p:sp>
    </p:spTree>
    <p:extLst>
      <p:ext uri="{BB962C8B-B14F-4D97-AF65-F5344CB8AC3E}">
        <p14:creationId xmlns:p14="http://schemas.microsoft.com/office/powerpoint/2010/main" val="35846130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EF2724E-5507-264F-B1C7-8FD6FD14EEF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14</a:t>
            </a:fld>
            <a:endParaRPr lang="de-CH" dirty="0"/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26BC1D9D-C949-C943-8C65-04932B6B0051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5" r="23971"/>
          <a:stretch/>
        </p:blipFill>
        <p:spPr>
          <a:xfrm>
            <a:off x="-4762" y="0"/>
            <a:ext cx="4302000" cy="5145088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8738085-E8CA-AA45-8842-D8E6EC881C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Consists of 3 Basis Modu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aa-ET" dirty="0"/>
              <a:t>ADC Reader measure sens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aa-ET" dirty="0"/>
              <a:t>WiFi connector establish connection to an Access Po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aa-ET" dirty="0"/>
              <a:t>TCP-Client transmits data through TCP Socket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2226FFE-0BC3-FA41-B583-E73D6AFD0A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a-ET" dirty="0"/>
              <a:t>ESP32 Application</a:t>
            </a:r>
          </a:p>
        </p:txBody>
      </p:sp>
    </p:spTree>
    <p:extLst>
      <p:ext uri="{BB962C8B-B14F-4D97-AF65-F5344CB8AC3E}">
        <p14:creationId xmlns:p14="http://schemas.microsoft.com/office/powerpoint/2010/main" val="3216498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FEBC4ED-6EFC-C74C-9CD4-140350AB39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15</a:t>
            </a:fld>
            <a:endParaRPr lang="de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728FEE-2D90-8B4D-A1FC-A0B591B99A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WiFi</a:t>
            </a:r>
            <a:r>
              <a:rPr lang="en-GB" dirty="0"/>
              <a:t> Setting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erver Addres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184AAAB-026C-464C-846F-EA22E4B841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a-ET" dirty="0"/>
              <a:t>ESP32 Config</a:t>
            </a:r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15BDDCCC-5BFF-D243-B542-FFE8D3F0C1C8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78" t="8605" r="57795" b="-8575"/>
          <a:stretch/>
        </p:blipFill>
        <p:spPr>
          <a:xfrm>
            <a:off x="-3602" y="-6"/>
            <a:ext cx="4302000" cy="6408000"/>
          </a:xfrm>
        </p:spPr>
      </p:pic>
    </p:spTree>
    <p:extLst>
      <p:ext uri="{BB962C8B-B14F-4D97-AF65-F5344CB8AC3E}">
        <p14:creationId xmlns:p14="http://schemas.microsoft.com/office/powerpoint/2010/main" val="21751178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631623E-3887-4641-BFA2-23E27942F31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16</a:t>
            </a:fld>
            <a:endParaRPr lang="de-CH" dirty="0"/>
          </a:p>
        </p:txBody>
      </p:sp>
      <p:pic>
        <p:nvPicPr>
          <p:cNvPr id="7" name="Bildplatzhalter 6">
            <a:extLst>
              <a:ext uri="{FF2B5EF4-FFF2-40B4-BE49-F238E27FC236}">
                <a16:creationId xmlns:a16="http://schemas.microsoft.com/office/drawing/2014/main" id="{C36EE8A7-A9E4-4B49-B44E-A1FB7B9DAB3D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76" r="8176"/>
          <a:stretch>
            <a:fillRect/>
          </a:stretch>
        </p:blipFill>
        <p:spPr/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13FF006-CD16-F148-A4A8-7AEF056AAE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aa-ET" dirty="0"/>
              <a:t>Implemented in</a:t>
            </a:r>
            <a:r>
              <a:rPr lang="de-CH" dirty="0"/>
              <a:t> .NET Co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err="1"/>
              <a:t>Receives</a:t>
            </a:r>
            <a:r>
              <a:rPr lang="de-CH" dirty="0"/>
              <a:t> TCP </a:t>
            </a:r>
            <a:r>
              <a:rPr lang="de-CH" dirty="0" err="1"/>
              <a:t>packages</a:t>
            </a:r>
            <a:r>
              <a:rPr lang="de-CH" dirty="0"/>
              <a:t> </a:t>
            </a:r>
            <a:r>
              <a:rPr lang="de-CH" dirty="0" err="1"/>
              <a:t>from</a:t>
            </a:r>
            <a:r>
              <a:rPr lang="de-CH" dirty="0"/>
              <a:t> ESP32</a:t>
            </a:r>
            <a:endParaRPr lang="aa-ET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</a:t>
            </a:r>
            <a:r>
              <a:rPr lang="aa-ET" dirty="0"/>
              <a:t>ends email if threshold is exceeded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F0C7BB0-732C-5B4C-9C0C-8A679DC2E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a-ET" dirty="0"/>
              <a:t>Backend Server</a:t>
            </a:r>
          </a:p>
        </p:txBody>
      </p:sp>
    </p:spTree>
    <p:extLst>
      <p:ext uri="{BB962C8B-B14F-4D97-AF65-F5344CB8AC3E}">
        <p14:creationId xmlns:p14="http://schemas.microsoft.com/office/powerpoint/2010/main" val="19162449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45F98D6-6107-CB4C-B76F-D2F09861630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17</a:t>
            </a:fld>
            <a:endParaRPr lang="de-CH" dirty="0"/>
          </a:p>
        </p:txBody>
      </p:sp>
      <p:pic>
        <p:nvPicPr>
          <p:cNvPr id="9" name="Bildplatzhalter 8">
            <a:extLst>
              <a:ext uri="{FF2B5EF4-FFF2-40B4-BE49-F238E27FC236}">
                <a16:creationId xmlns:a16="http://schemas.microsoft.com/office/drawing/2014/main" id="{82FA9768-FC19-4B86-BD89-638EED0E915F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68" r="19068"/>
          <a:stretch>
            <a:fillRect/>
          </a:stretch>
        </p:blipFill>
        <p:spPr/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86A87D-21E5-2D4A-B421-3D62B6BAF28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</a:t>
            </a:r>
            <a:r>
              <a:rPr lang="aa-ET" dirty="0"/>
              <a:t>hows </a:t>
            </a:r>
            <a:r>
              <a:rPr lang="de-CH" dirty="0" err="1"/>
              <a:t>whole</a:t>
            </a:r>
            <a:r>
              <a:rPr lang="de-CH" dirty="0"/>
              <a:t> </a:t>
            </a:r>
            <a:r>
              <a:rPr lang="de-CH" dirty="0" err="1"/>
              <a:t>measurement</a:t>
            </a:r>
            <a:r>
              <a:rPr lang="de-CH" dirty="0"/>
              <a:t> </a:t>
            </a:r>
            <a:r>
              <a:rPr lang="de-CH" dirty="0" err="1"/>
              <a:t>history</a:t>
            </a:r>
            <a:r>
              <a:rPr lang="de-CH" dirty="0"/>
              <a:t> and last 24h </a:t>
            </a:r>
            <a:r>
              <a:rPr lang="de-CH" dirty="0" err="1"/>
              <a:t>history</a:t>
            </a:r>
            <a:r>
              <a:rPr lang="de-CH" dirty="0"/>
              <a:t> in a </a:t>
            </a:r>
            <a:r>
              <a:rPr lang="de-CH" dirty="0" err="1"/>
              <a:t>chart</a:t>
            </a:r>
            <a:endParaRPr lang="aa-ET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I</a:t>
            </a:r>
            <a:r>
              <a:rPr lang="aa-ET" dirty="0"/>
              <a:t>mplemented in </a:t>
            </a:r>
            <a:r>
              <a:rPr lang="de-CH" dirty="0"/>
              <a:t>ASP.NET Co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err="1"/>
              <a:t>Hosted</a:t>
            </a:r>
            <a:r>
              <a:rPr lang="de-CH" dirty="0"/>
              <a:t> on Raspberry Pi 0 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err="1"/>
              <a:t>Buildabl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all </a:t>
            </a:r>
            <a:r>
              <a:rPr lang="de-CH" dirty="0" err="1"/>
              <a:t>plattforms</a:t>
            </a:r>
            <a:r>
              <a:rPr lang="de-CH" dirty="0"/>
              <a:t> (inclusive Linux)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8032442-57F9-0349-980B-7C792B97F8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a-ET" dirty="0"/>
              <a:t>Frontend</a:t>
            </a:r>
          </a:p>
        </p:txBody>
      </p:sp>
    </p:spTree>
    <p:extLst>
      <p:ext uri="{BB962C8B-B14F-4D97-AF65-F5344CB8AC3E}">
        <p14:creationId xmlns:p14="http://schemas.microsoft.com/office/powerpoint/2010/main" val="3775641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5E6E60-B1E7-FB4E-AF40-5F086E626A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0716" y="864972"/>
            <a:ext cx="5315123" cy="372760"/>
          </a:xfrm>
        </p:spPr>
        <p:txBody>
          <a:bodyPr/>
          <a:lstStyle/>
          <a:p>
            <a:r>
              <a:rPr lang="en-GB" dirty="0"/>
              <a:t>Demonstra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8D25F9D-7E5F-DB4A-9D90-07C6924B26A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18</a:t>
            </a:fld>
            <a:endParaRPr lang="de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B505A9-BBFB-014C-B32C-39A8D15BE0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90716" y="1645355"/>
            <a:ext cx="5315122" cy="2953634"/>
          </a:xfrm>
        </p:spPr>
        <p:txBody>
          <a:bodyPr/>
          <a:lstStyle/>
          <a:p>
            <a:r>
              <a:rPr lang="en-GB" dirty="0"/>
              <a:t>Thank you for your attention</a:t>
            </a:r>
          </a:p>
          <a:p>
            <a:pPr lvl="1"/>
            <a:r>
              <a:rPr lang="en-GB" dirty="0"/>
              <a:t>Group02, HS2020</a:t>
            </a:r>
          </a:p>
        </p:txBody>
      </p:sp>
    </p:spTree>
    <p:extLst>
      <p:ext uri="{BB962C8B-B14F-4D97-AF65-F5344CB8AC3E}">
        <p14:creationId xmlns:p14="http://schemas.microsoft.com/office/powerpoint/2010/main" val="11044609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451B28-5211-914C-BE4B-7A97AC1BFC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2</a:t>
            </a:fld>
            <a:endParaRPr lang="de-CH" dirty="0"/>
          </a:p>
        </p:txBody>
      </p:sp>
      <p:pic>
        <p:nvPicPr>
          <p:cNvPr id="4" name="Bildplatzhalter 3"/>
          <p:cNvPicPr>
            <a:picLocks noGrp="1" noChangeAspect="1"/>
          </p:cNvPicPr>
          <p:nvPr>
            <p:ph type="pic"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762" y="0"/>
            <a:ext cx="4303712" cy="5145088"/>
          </a:xfr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AGENDA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 err="1"/>
              <a:t>Introduction</a:t>
            </a:r>
            <a:endParaRPr lang="de-CH" dirty="0"/>
          </a:p>
          <a:p>
            <a:r>
              <a:rPr lang="de-CH" dirty="0"/>
              <a:t>Integrated </a:t>
            </a:r>
            <a:r>
              <a:rPr lang="de-CH" dirty="0" err="1"/>
              <a:t>Circuits</a:t>
            </a:r>
            <a:endParaRPr lang="de-CH" dirty="0"/>
          </a:p>
          <a:p>
            <a:r>
              <a:rPr lang="de-CH" dirty="0"/>
              <a:t>Sensors</a:t>
            </a:r>
          </a:p>
          <a:p>
            <a:r>
              <a:rPr lang="de-CH" dirty="0"/>
              <a:t>ESP32</a:t>
            </a:r>
          </a:p>
          <a:p>
            <a:r>
              <a:rPr lang="de-CH" dirty="0"/>
              <a:t>Server</a:t>
            </a:r>
          </a:p>
          <a:p>
            <a:r>
              <a:rPr lang="de-CH" dirty="0"/>
              <a:t>Frontend</a:t>
            </a:r>
          </a:p>
        </p:txBody>
      </p:sp>
    </p:spTree>
    <p:extLst>
      <p:ext uri="{BB962C8B-B14F-4D97-AF65-F5344CB8AC3E}">
        <p14:creationId xmlns:p14="http://schemas.microsoft.com/office/powerpoint/2010/main" val="7782696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ADEEA3F-5B53-3441-A1BE-2A23A992E2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a-ET" dirty="0"/>
              <a:t>Intro</a:t>
            </a:r>
            <a:r>
              <a:rPr lang="de-CH" dirty="0" err="1"/>
              <a:t>DUction</a:t>
            </a:r>
            <a:endParaRPr lang="aa-ET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1DA87D-48D0-A04E-96FA-49566E21B5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3</a:t>
            </a:fld>
            <a:endParaRPr lang="de-CH" dirty="0"/>
          </a:p>
        </p:txBody>
      </p:sp>
      <p:pic>
        <p:nvPicPr>
          <p:cNvPr id="9" name="Inhaltsplatzhalter 8"/>
          <p:cNvPicPr>
            <a:picLocks noGrp="1"/>
          </p:cNvPicPr>
          <p:nvPr>
            <p:ph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2435" y="1859275"/>
            <a:ext cx="6624638" cy="2305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20812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D4B0C81D-49F8-4561-9AB2-463598A6FF1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41" r="7102"/>
          <a:stretch/>
        </p:blipFill>
        <p:spPr>
          <a:xfrm rot="16200000">
            <a:off x="1992471" y="-2009616"/>
            <a:ext cx="5145088" cy="916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98386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26A274CF-4B82-418D-BE23-38410899547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41" t="1965" r="7102" b="66456"/>
          <a:stretch/>
        </p:blipFill>
        <p:spPr>
          <a:xfrm>
            <a:off x="0" y="0"/>
            <a:ext cx="9147175" cy="514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2154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3DABB966-94C8-4B23-9654-A39B2BF7F93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860117" cy="5145088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0F338A92-F6A1-4155-AE75-DE8C9EB6566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096" r="16663"/>
          <a:stretch/>
        </p:blipFill>
        <p:spPr>
          <a:xfrm>
            <a:off x="7092668" y="0"/>
            <a:ext cx="2054507" cy="514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9306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D0C332B4-8778-41C4-A5FB-5A2CDFF112A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99"/>
          <a:stretch/>
        </p:blipFill>
        <p:spPr>
          <a:xfrm>
            <a:off x="0" y="0"/>
            <a:ext cx="3650472" cy="514508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9451383F-8801-4C89-B70A-47ABD263D34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6" r="11875"/>
          <a:stretch/>
        </p:blipFill>
        <p:spPr>
          <a:xfrm>
            <a:off x="3858816" y="0"/>
            <a:ext cx="5288359" cy="514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966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A21AE346-BD62-4B6F-B22B-DD198244557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90" t="15298" r="13375" b="25730"/>
          <a:stretch/>
        </p:blipFill>
        <p:spPr>
          <a:xfrm>
            <a:off x="0" y="0"/>
            <a:ext cx="9147175" cy="514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64400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1037B57D-F0B0-4930-8D14-23D7C62EAD1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63" b="7567"/>
          <a:stretch/>
        </p:blipFill>
        <p:spPr>
          <a:xfrm>
            <a:off x="4573587" y="-6183"/>
            <a:ext cx="4347069" cy="5145088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B7A3E804-9386-4446-A830-64F157DAAD0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701"/>
          <a:stretch/>
        </p:blipFill>
        <p:spPr>
          <a:xfrm>
            <a:off x="167641" y="6183"/>
            <a:ext cx="4221480" cy="5138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5528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6841"/>
  <p:tag name="MIO_FALLBACK_LAYOUT" val="30"/>
  <p:tag name="MIO_SHOW_DATE" val="False"/>
  <p:tag name="MIO_SHOW_FOOTER" val="False"/>
  <p:tag name="MIO_SHOW_PAGENUMBER" val="True"/>
  <p:tag name="MIO_AVOID_BLANK_LAYOUT" val="True"/>
  <p:tag name="MIO_CD_LAYOUT_VALID_AREA" val="False"/>
  <p:tag name="MIO_NUMBER_OF_VALID_LAYOUTS" val="30"/>
  <p:tag name="MIO_HDS" val="True"/>
  <p:tag name="MIO_SKIPVERSION" val="01.01.0001 00:00:00"/>
  <p:tag name="MIO_EKGUID" val="45d2b2b7-f2e0-45bc-8c6e-5674165245fb"/>
  <p:tag name="MIO_UPDATE" val="True"/>
  <p:tag name="MIO_VERSION" val="07.12.2017 16:11:08"/>
  <p:tag name="MIO_DBID" val="8F684677-3FC0-4CE4-9ED5-BB3254268BEA"/>
  <p:tag name="MIO_LASTDOWNLOADED" val="20.12.2017 13:17:17"/>
  <p:tag name="MIO_OBJECTNAME" val="toxicFM"/>
  <p:tag name="MIO_CDID" val="76e4a38e-0c0f-4477-9637-fbe3155b0d2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9b41f7e-fefe-46d3-afee-ff507f5a5e11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1_Office">
  <a:themeElements>
    <a:clrScheme name="ToxicFM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353535"/>
      </a:accent1>
      <a:accent2>
        <a:srgbClr val="575757"/>
      </a:accent2>
      <a:accent3>
        <a:srgbClr val="878787"/>
      </a:accent3>
      <a:accent4>
        <a:srgbClr val="B3B3B3"/>
      </a:accent4>
      <a:accent5>
        <a:srgbClr val="DADADA"/>
      </a:accent5>
      <a:accent6>
        <a:srgbClr val="ECECEC"/>
      </a:accent6>
      <a:hlink>
        <a:srgbClr val="B3B3B3"/>
      </a:hlink>
      <a:folHlink>
        <a:srgbClr val="B3B3B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runge-Muster">
      <a: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67000"/>
                <a:shade val="65000"/>
              </a:schemeClr>
              <a:schemeClr val="phClr">
                <a:tint val="10000"/>
                <a:satMod val="130000"/>
              </a:schemeClr>
            </a:duotone>
          </a:blip>
          <a:tile tx="0" ty="0" sx="60000" sy="59000" flip="none" algn="b"/>
        </a:blipFill>
        <a:blipFill rotWithShape="1">
          <a:blip xmlns:r="http://schemas.openxmlformats.org/officeDocument/2006/relationships" r:embed="rId1">
            <a:duotone>
              <a:schemeClr val="phClr">
                <a:shade val="30000"/>
                <a:satMod val="115000"/>
              </a:schemeClr>
              <a:schemeClr val="phClr">
                <a:tint val="34000"/>
              </a:schemeClr>
            </a:duotone>
          </a:blip>
          <a:tile tx="0" ty="0" sx="60000" sy="59000" flip="none" algn="b"/>
        </a:blipFill>
      </a:fillStyleLst>
      <a:lnStyleLst>
        <a:ln w="6350" cap="flat" cmpd="sng" algn="ctr">
          <a:solidFill>
            <a:schemeClr val="phClr">
              <a:tint val="7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softEdge rad="12700"/>
          </a:effectLst>
        </a:effectStyle>
        <a:effectStyle>
          <a:effectLst>
            <a:outerShdw blurRad="50800" dist="19050" dir="5400000" algn="tl" rotWithShape="0">
              <a:srgbClr val="000000">
                <a:alpha val="60000"/>
              </a:srgbClr>
            </a:outerShdw>
            <a:softEdge rad="1270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DBB00"/>
        </a:solidFill>
        <a:ln w="0"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400" b="0" i="0" u="none" baseline="0" dirty="0" smtClean="0">
            <a:solidFill>
              <a:srgbClr val="000000"/>
            </a:solidFill>
            <a:latin typeface="Lato" panose="020F0502020204030203" pitchFamily="34" charset="0"/>
            <a:ea typeface="Lato regular" panose="020F0502020204030203" pitchFamily="34" charset="0"/>
            <a:cs typeface="Lato regular" panose="020F050202020403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" id="{01DF8C97-E589-4334-B240-2EB022EF93A2}" vid="{143BF51E-D7A1-42A6-A6BF-EEEF0E0E9CF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160</Words>
  <Application>Microsoft Office PowerPoint</Application>
  <PresentationFormat>Benutzerdefiniert</PresentationFormat>
  <Paragraphs>62</Paragraphs>
  <Slides>18</Slides>
  <Notes>14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26" baseType="lpstr">
      <vt:lpstr>Arial</vt:lpstr>
      <vt:lpstr>Calibri</vt:lpstr>
      <vt:lpstr>Lato</vt:lpstr>
      <vt:lpstr>Lato Black</vt:lpstr>
      <vt:lpstr>Lato Bold</vt:lpstr>
      <vt:lpstr>Lato Light</vt:lpstr>
      <vt:lpstr>Lato regular</vt:lpstr>
      <vt:lpstr>1_Office</vt:lpstr>
      <vt:lpstr>Water saving and leakage Protection System Semesterproject Group02 - HS2020 Bosshard Nico, calovic Aleksandar, Kozlov Victor, Stofer Stephan</vt:lpstr>
      <vt:lpstr>AGENDA</vt:lpstr>
      <vt:lpstr>IntroDUc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Sensors</vt:lpstr>
      <vt:lpstr>Circuit</vt:lpstr>
      <vt:lpstr>PowerPoint-Präsentation</vt:lpstr>
      <vt:lpstr>Espressif ESP32</vt:lpstr>
      <vt:lpstr>ESP32 Application</vt:lpstr>
      <vt:lpstr>ESP32 Config</vt:lpstr>
      <vt:lpstr>Backend Server</vt:lpstr>
      <vt:lpstr>Frontend</vt:lpstr>
      <vt:lpstr>Demonstration</vt:lpstr>
    </vt:vector>
  </TitlesOfParts>
  <Company>NZZ Mediengrupp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ofer Stephan</dc:creator>
  <cp:lastModifiedBy>Kozlov Victor I.BSCI.1801</cp:lastModifiedBy>
  <cp:revision>163</cp:revision>
  <cp:lastPrinted>2018-01-08T23:57:59Z</cp:lastPrinted>
  <dcterms:created xsi:type="dcterms:W3CDTF">2017-12-20T12:16:39Z</dcterms:created>
  <dcterms:modified xsi:type="dcterms:W3CDTF">2021-01-07T17:44:37Z</dcterms:modified>
</cp:coreProperties>
</file>